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</p:sldIdLst>
  <p:sldSz cx="6480175" cy="9144000"/>
  <p:notesSz cx="6858000" cy="9144000"/>
  <p:defaultTextStyle>
    <a:defPPr>
      <a:defRPr lang="fr-FR"/>
    </a:defPPr>
    <a:lvl1pPr marL="0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57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15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572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432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289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147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004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861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1" userDrawn="1">
          <p15:clr>
            <a:srgbClr val="A4A3A4"/>
          </p15:clr>
        </p15:guide>
        <p15:guide id="2" pos="20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393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1579" y="38"/>
      </p:cViewPr>
      <p:guideLst>
        <p:guide orient="horz" pos="2881"/>
        <p:guide pos="20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6013" y="1496484"/>
            <a:ext cx="5508149" cy="3183467"/>
          </a:xfrm>
        </p:spPr>
        <p:txBody>
          <a:bodyPr anchor="b"/>
          <a:lstStyle>
            <a:lvl1pPr algn="ctr">
              <a:defRPr sz="4252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22" y="4802717"/>
            <a:ext cx="4860131" cy="2207683"/>
          </a:xfrm>
        </p:spPr>
        <p:txBody>
          <a:bodyPr/>
          <a:lstStyle>
            <a:lvl1pPr marL="0" indent="0" algn="ctr">
              <a:buNone/>
              <a:defRPr sz="1701"/>
            </a:lvl1pPr>
            <a:lvl2pPr marL="324018" indent="0" algn="ctr">
              <a:buNone/>
              <a:defRPr sz="1417"/>
            </a:lvl2pPr>
            <a:lvl3pPr marL="648035" indent="0" algn="ctr">
              <a:buNone/>
              <a:defRPr sz="1276"/>
            </a:lvl3pPr>
            <a:lvl4pPr marL="972053" indent="0" algn="ctr">
              <a:buNone/>
              <a:defRPr sz="1134"/>
            </a:lvl4pPr>
            <a:lvl5pPr marL="1296071" indent="0" algn="ctr">
              <a:buNone/>
              <a:defRPr sz="1134"/>
            </a:lvl5pPr>
            <a:lvl6pPr marL="1620088" indent="0" algn="ctr">
              <a:buNone/>
              <a:defRPr sz="1134"/>
            </a:lvl6pPr>
            <a:lvl7pPr marL="1944106" indent="0" algn="ctr">
              <a:buNone/>
              <a:defRPr sz="1134"/>
            </a:lvl7pPr>
            <a:lvl8pPr marL="2268123" indent="0" algn="ctr">
              <a:buNone/>
              <a:defRPr sz="1134"/>
            </a:lvl8pPr>
            <a:lvl9pPr marL="2592141" indent="0" algn="ctr">
              <a:buNone/>
              <a:defRPr sz="1134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1572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4293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637375" y="486834"/>
            <a:ext cx="1397288" cy="774911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5512" y="486834"/>
            <a:ext cx="4110861" cy="774911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513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1756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137" y="2279653"/>
            <a:ext cx="5589151" cy="3803649"/>
          </a:xfrm>
        </p:spPr>
        <p:txBody>
          <a:bodyPr anchor="b"/>
          <a:lstStyle>
            <a:lvl1pPr>
              <a:defRPr sz="4252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137" y="6119286"/>
            <a:ext cx="5589151" cy="2000249"/>
          </a:xfrm>
        </p:spPr>
        <p:txBody>
          <a:bodyPr/>
          <a:lstStyle>
            <a:lvl1pPr marL="0" indent="0">
              <a:buNone/>
              <a:defRPr sz="1701">
                <a:solidFill>
                  <a:schemeClr val="tx1"/>
                </a:solidFill>
              </a:defRPr>
            </a:lvl1pPr>
            <a:lvl2pPr marL="324018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2pPr>
            <a:lvl3pPr marL="648035" indent="0">
              <a:buNone/>
              <a:defRPr sz="1276">
                <a:solidFill>
                  <a:schemeClr val="tx1">
                    <a:tint val="75000"/>
                  </a:schemeClr>
                </a:solidFill>
              </a:defRPr>
            </a:lvl3pPr>
            <a:lvl4pPr marL="972053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4pPr>
            <a:lvl5pPr marL="1296071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5pPr>
            <a:lvl6pPr marL="1620088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6pPr>
            <a:lvl7pPr marL="1944106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7pPr>
            <a:lvl8pPr marL="2268123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8pPr>
            <a:lvl9pPr marL="2592141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3772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5512" y="2434167"/>
            <a:ext cx="2754074" cy="5801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80589" y="2434167"/>
            <a:ext cx="2754074" cy="5801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0131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56" y="486836"/>
            <a:ext cx="5589151" cy="176741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6357" y="2241551"/>
            <a:ext cx="2741417" cy="1098549"/>
          </a:xfrm>
        </p:spPr>
        <p:txBody>
          <a:bodyPr anchor="b"/>
          <a:lstStyle>
            <a:lvl1pPr marL="0" indent="0">
              <a:buNone/>
              <a:defRPr sz="1701" b="1"/>
            </a:lvl1pPr>
            <a:lvl2pPr marL="324018" indent="0">
              <a:buNone/>
              <a:defRPr sz="1417" b="1"/>
            </a:lvl2pPr>
            <a:lvl3pPr marL="648035" indent="0">
              <a:buNone/>
              <a:defRPr sz="1276" b="1"/>
            </a:lvl3pPr>
            <a:lvl4pPr marL="972053" indent="0">
              <a:buNone/>
              <a:defRPr sz="1134" b="1"/>
            </a:lvl4pPr>
            <a:lvl5pPr marL="1296071" indent="0">
              <a:buNone/>
              <a:defRPr sz="1134" b="1"/>
            </a:lvl5pPr>
            <a:lvl6pPr marL="1620088" indent="0">
              <a:buNone/>
              <a:defRPr sz="1134" b="1"/>
            </a:lvl6pPr>
            <a:lvl7pPr marL="1944106" indent="0">
              <a:buNone/>
              <a:defRPr sz="1134" b="1"/>
            </a:lvl7pPr>
            <a:lvl8pPr marL="2268123" indent="0">
              <a:buNone/>
              <a:defRPr sz="1134" b="1"/>
            </a:lvl8pPr>
            <a:lvl9pPr marL="2592141" indent="0">
              <a:buNone/>
              <a:defRPr sz="1134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6357" y="3340100"/>
            <a:ext cx="2741417" cy="4912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0589" y="2241551"/>
            <a:ext cx="2754918" cy="1098549"/>
          </a:xfrm>
        </p:spPr>
        <p:txBody>
          <a:bodyPr anchor="b"/>
          <a:lstStyle>
            <a:lvl1pPr marL="0" indent="0">
              <a:buNone/>
              <a:defRPr sz="1701" b="1"/>
            </a:lvl1pPr>
            <a:lvl2pPr marL="324018" indent="0">
              <a:buNone/>
              <a:defRPr sz="1417" b="1"/>
            </a:lvl2pPr>
            <a:lvl3pPr marL="648035" indent="0">
              <a:buNone/>
              <a:defRPr sz="1276" b="1"/>
            </a:lvl3pPr>
            <a:lvl4pPr marL="972053" indent="0">
              <a:buNone/>
              <a:defRPr sz="1134" b="1"/>
            </a:lvl4pPr>
            <a:lvl5pPr marL="1296071" indent="0">
              <a:buNone/>
              <a:defRPr sz="1134" b="1"/>
            </a:lvl5pPr>
            <a:lvl6pPr marL="1620088" indent="0">
              <a:buNone/>
              <a:defRPr sz="1134" b="1"/>
            </a:lvl6pPr>
            <a:lvl7pPr marL="1944106" indent="0">
              <a:buNone/>
              <a:defRPr sz="1134" b="1"/>
            </a:lvl7pPr>
            <a:lvl8pPr marL="2268123" indent="0">
              <a:buNone/>
              <a:defRPr sz="1134" b="1"/>
            </a:lvl8pPr>
            <a:lvl9pPr marL="2592141" indent="0">
              <a:buNone/>
              <a:defRPr sz="1134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80589" y="3340100"/>
            <a:ext cx="2754918" cy="4912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4543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6513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60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56" y="609600"/>
            <a:ext cx="2090025" cy="2133600"/>
          </a:xfrm>
        </p:spPr>
        <p:txBody>
          <a:bodyPr anchor="b"/>
          <a:lstStyle>
            <a:lvl1pPr>
              <a:defRPr sz="2268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54918" y="1316569"/>
            <a:ext cx="3280589" cy="6498167"/>
          </a:xfrm>
        </p:spPr>
        <p:txBody>
          <a:bodyPr/>
          <a:lstStyle>
            <a:lvl1pPr>
              <a:defRPr sz="2268"/>
            </a:lvl1pPr>
            <a:lvl2pPr>
              <a:defRPr sz="1984"/>
            </a:lvl2pPr>
            <a:lvl3pPr>
              <a:defRPr sz="1701"/>
            </a:lvl3pPr>
            <a:lvl4pPr>
              <a:defRPr sz="1417"/>
            </a:lvl4pPr>
            <a:lvl5pPr>
              <a:defRPr sz="1417"/>
            </a:lvl5pPr>
            <a:lvl6pPr>
              <a:defRPr sz="1417"/>
            </a:lvl6pPr>
            <a:lvl7pPr>
              <a:defRPr sz="1417"/>
            </a:lvl7pPr>
            <a:lvl8pPr>
              <a:defRPr sz="1417"/>
            </a:lvl8pPr>
            <a:lvl9pPr>
              <a:defRPr sz="1417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6356" y="2743200"/>
            <a:ext cx="2090025" cy="5082117"/>
          </a:xfrm>
        </p:spPr>
        <p:txBody>
          <a:bodyPr/>
          <a:lstStyle>
            <a:lvl1pPr marL="0" indent="0">
              <a:buNone/>
              <a:defRPr sz="1134"/>
            </a:lvl1pPr>
            <a:lvl2pPr marL="324018" indent="0">
              <a:buNone/>
              <a:defRPr sz="992"/>
            </a:lvl2pPr>
            <a:lvl3pPr marL="648035" indent="0">
              <a:buNone/>
              <a:defRPr sz="850"/>
            </a:lvl3pPr>
            <a:lvl4pPr marL="972053" indent="0">
              <a:buNone/>
              <a:defRPr sz="709"/>
            </a:lvl4pPr>
            <a:lvl5pPr marL="1296071" indent="0">
              <a:buNone/>
              <a:defRPr sz="709"/>
            </a:lvl5pPr>
            <a:lvl6pPr marL="1620088" indent="0">
              <a:buNone/>
              <a:defRPr sz="709"/>
            </a:lvl6pPr>
            <a:lvl7pPr marL="1944106" indent="0">
              <a:buNone/>
              <a:defRPr sz="709"/>
            </a:lvl7pPr>
            <a:lvl8pPr marL="2268123" indent="0">
              <a:buNone/>
              <a:defRPr sz="709"/>
            </a:lvl8pPr>
            <a:lvl9pPr marL="2592141" indent="0">
              <a:buNone/>
              <a:defRPr sz="709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2710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56" y="609600"/>
            <a:ext cx="2090025" cy="2133600"/>
          </a:xfrm>
        </p:spPr>
        <p:txBody>
          <a:bodyPr anchor="b"/>
          <a:lstStyle>
            <a:lvl1pPr>
              <a:defRPr sz="2268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754918" y="1316569"/>
            <a:ext cx="3280589" cy="6498167"/>
          </a:xfrm>
        </p:spPr>
        <p:txBody>
          <a:bodyPr anchor="t"/>
          <a:lstStyle>
            <a:lvl1pPr marL="0" indent="0">
              <a:buNone/>
              <a:defRPr sz="2268"/>
            </a:lvl1pPr>
            <a:lvl2pPr marL="324018" indent="0">
              <a:buNone/>
              <a:defRPr sz="1984"/>
            </a:lvl2pPr>
            <a:lvl3pPr marL="648035" indent="0">
              <a:buNone/>
              <a:defRPr sz="1701"/>
            </a:lvl3pPr>
            <a:lvl4pPr marL="972053" indent="0">
              <a:buNone/>
              <a:defRPr sz="1417"/>
            </a:lvl4pPr>
            <a:lvl5pPr marL="1296071" indent="0">
              <a:buNone/>
              <a:defRPr sz="1417"/>
            </a:lvl5pPr>
            <a:lvl6pPr marL="1620088" indent="0">
              <a:buNone/>
              <a:defRPr sz="1417"/>
            </a:lvl6pPr>
            <a:lvl7pPr marL="1944106" indent="0">
              <a:buNone/>
              <a:defRPr sz="1417"/>
            </a:lvl7pPr>
            <a:lvl8pPr marL="2268123" indent="0">
              <a:buNone/>
              <a:defRPr sz="1417"/>
            </a:lvl8pPr>
            <a:lvl9pPr marL="2592141" indent="0">
              <a:buNone/>
              <a:defRPr sz="1417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6356" y="2743200"/>
            <a:ext cx="2090025" cy="5082117"/>
          </a:xfrm>
        </p:spPr>
        <p:txBody>
          <a:bodyPr/>
          <a:lstStyle>
            <a:lvl1pPr marL="0" indent="0">
              <a:buNone/>
              <a:defRPr sz="1134"/>
            </a:lvl1pPr>
            <a:lvl2pPr marL="324018" indent="0">
              <a:buNone/>
              <a:defRPr sz="992"/>
            </a:lvl2pPr>
            <a:lvl3pPr marL="648035" indent="0">
              <a:buNone/>
              <a:defRPr sz="850"/>
            </a:lvl3pPr>
            <a:lvl4pPr marL="972053" indent="0">
              <a:buNone/>
              <a:defRPr sz="709"/>
            </a:lvl4pPr>
            <a:lvl5pPr marL="1296071" indent="0">
              <a:buNone/>
              <a:defRPr sz="709"/>
            </a:lvl5pPr>
            <a:lvl6pPr marL="1620088" indent="0">
              <a:buNone/>
              <a:defRPr sz="709"/>
            </a:lvl6pPr>
            <a:lvl7pPr marL="1944106" indent="0">
              <a:buNone/>
              <a:defRPr sz="709"/>
            </a:lvl7pPr>
            <a:lvl8pPr marL="2268123" indent="0">
              <a:buNone/>
              <a:defRPr sz="709"/>
            </a:lvl8pPr>
            <a:lvl9pPr marL="2592141" indent="0">
              <a:buNone/>
              <a:defRPr sz="709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7720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5512" y="486836"/>
            <a:ext cx="5589151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512" y="2434167"/>
            <a:ext cx="5589151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5512" y="8475136"/>
            <a:ext cx="145803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F0BAE9-8C66-4376-AC32-D03E2F3D111C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46558" y="8475136"/>
            <a:ext cx="218705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6624" y="8475136"/>
            <a:ext cx="145803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9A3B6E-4C8E-4A27-913D-AB06CAAE0D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3868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648035" rtl="0" eaLnBrk="1" latinLnBrk="0" hangingPunct="1">
        <a:lnSpc>
          <a:spcPct val="90000"/>
        </a:lnSpc>
        <a:spcBef>
          <a:spcPct val="0"/>
        </a:spcBef>
        <a:buNone/>
        <a:defRPr sz="31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2009" indent="-162009" algn="l" defTabSz="648035" rtl="0" eaLnBrk="1" latinLnBrk="0" hangingPunct="1">
        <a:lnSpc>
          <a:spcPct val="90000"/>
        </a:lnSpc>
        <a:spcBef>
          <a:spcPts val="709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486026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10044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134062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4pPr>
      <a:lvl5pPr marL="1458079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5pPr>
      <a:lvl6pPr marL="1782097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6pPr>
      <a:lvl7pPr marL="2106115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7pPr>
      <a:lvl8pPr marL="2430132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8pPr>
      <a:lvl9pPr marL="2754150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1pPr>
      <a:lvl2pPr marL="324018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2pPr>
      <a:lvl3pPr marL="648035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3pPr>
      <a:lvl4pPr marL="972053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4pPr>
      <a:lvl5pPr marL="1296071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5pPr>
      <a:lvl6pPr marL="1620088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6pPr>
      <a:lvl7pPr marL="1944106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7pPr>
      <a:lvl8pPr marL="2268123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8pPr>
      <a:lvl9pPr marL="2592141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72" y="4515683"/>
            <a:ext cx="1094091" cy="109409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123184" y="2195088"/>
            <a:ext cx="3803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Interroger les bases de données et importer les références</a:t>
            </a:r>
            <a:endParaRPr lang="fr-FR" sz="1800" dirty="0"/>
          </a:p>
        </p:txBody>
      </p:sp>
      <p:sp>
        <p:nvSpPr>
          <p:cNvPr id="30" name="Rectangle 29"/>
          <p:cNvSpPr/>
          <p:nvPr/>
        </p:nvSpPr>
        <p:spPr>
          <a:xfrm>
            <a:off x="2123184" y="985103"/>
            <a:ext cx="38978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onstruire une stratégie de recherche bibliographique</a:t>
            </a:r>
            <a:endParaRPr lang="fr-FR" sz="1800" dirty="0"/>
          </a:p>
        </p:txBody>
      </p:sp>
      <p:sp>
        <p:nvSpPr>
          <p:cNvPr id="47" name="Rectangle 46"/>
          <p:cNvSpPr/>
          <p:nvPr/>
        </p:nvSpPr>
        <p:spPr>
          <a:xfrm>
            <a:off x="2123184" y="3439207"/>
            <a:ext cx="3897814" cy="324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fr-FR" sz="1800" dirty="0" err="1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Dédoublonner</a:t>
            </a:r>
            <a:endParaRPr lang="fr-FR" sz="180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>
              <a:spcAft>
                <a:spcPts val="600"/>
              </a:spcAft>
            </a:pP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ompléter les informations bibliographiques</a:t>
            </a:r>
          </a:p>
          <a:p>
            <a:pPr>
              <a:spcAft>
                <a:spcPts val="600"/>
              </a:spcAft>
            </a:pP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rier les références sur titre et résumé</a:t>
            </a:r>
          </a:p>
          <a:p>
            <a:pPr>
              <a:spcAft>
                <a:spcPts val="600"/>
              </a:spcAft>
            </a:pP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Rechercher et ajouter le texte 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intégral</a:t>
            </a:r>
          </a:p>
          <a:p>
            <a:pPr>
              <a:spcAft>
                <a:spcPts val="600"/>
              </a:spcAft>
            </a:pP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oursuivre </a:t>
            </a: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le tri, et 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l'analyse</a:t>
            </a:r>
          </a:p>
          <a:p>
            <a:pPr>
              <a:spcAft>
                <a:spcPts val="600"/>
              </a:spcAft>
            </a:pP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iter </a:t>
            </a: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avec les modules de traitement de 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exte</a:t>
            </a:r>
            <a:endParaRPr lang="fr-FR" sz="1800" dirty="0"/>
          </a:p>
        </p:txBody>
      </p:sp>
      <p:grpSp>
        <p:nvGrpSpPr>
          <p:cNvPr id="38" name="Brainstor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89D5D32B-FB3B-4594-B702-3782DCA641D4}"/>
              </a:ext>
            </a:extLst>
          </p:cNvPr>
          <p:cNvGrpSpPr>
            <a:grpSpLocks noChangeAspect="1"/>
          </p:cNvGrpSpPr>
          <p:nvPr/>
        </p:nvGrpSpPr>
        <p:grpSpPr>
          <a:xfrm>
            <a:off x="820138" y="834753"/>
            <a:ext cx="586558" cy="947029"/>
            <a:chOff x="4276788" y="3530600"/>
            <a:chExt cx="571558" cy="922809"/>
          </a:xfrm>
          <a:noFill/>
        </p:grpSpPr>
        <p:sp>
          <p:nvSpPr>
            <p:cNvPr id="39" name="Freeform 2333">
              <a:extLst>
                <a:ext uri="{FF2B5EF4-FFF2-40B4-BE49-F238E27FC236}">
                  <a16:creationId xmlns="" xmlns:a16="http://schemas.microsoft.com/office/drawing/2014/main" id="{7C6C955F-593B-475E-A13D-B5498C237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3738563"/>
              <a:ext cx="157163" cy="179388"/>
            </a:xfrm>
            <a:custGeom>
              <a:avLst/>
              <a:gdLst>
                <a:gd name="T0" fmla="*/ 44 w 141"/>
                <a:gd name="T1" fmla="*/ 0 h 161"/>
                <a:gd name="T2" fmla="*/ 4 w 141"/>
                <a:gd name="T3" fmla="*/ 84 h 161"/>
                <a:gd name="T4" fmla="*/ 38 w 141"/>
                <a:gd name="T5" fmla="*/ 83 h 161"/>
                <a:gd name="T6" fmla="*/ 3 w 141"/>
                <a:gd name="T7" fmla="*/ 147 h 161"/>
                <a:gd name="T8" fmla="*/ 15 w 141"/>
                <a:gd name="T9" fmla="*/ 156 h 161"/>
                <a:gd name="T10" fmla="*/ 141 w 141"/>
                <a:gd name="T11" fmla="*/ 50 h 161"/>
                <a:gd name="T12" fmla="*/ 91 w 141"/>
                <a:gd name="T13" fmla="*/ 51 h 161"/>
                <a:gd name="T14" fmla="*/ 124 w 141"/>
                <a:gd name="T15" fmla="*/ 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161">
                  <a:moveTo>
                    <a:pt x="44" y="0"/>
                  </a:moveTo>
                  <a:lnTo>
                    <a:pt x="4" y="84"/>
                  </a:lnTo>
                  <a:lnTo>
                    <a:pt x="38" y="83"/>
                  </a:lnTo>
                  <a:lnTo>
                    <a:pt x="3" y="147"/>
                  </a:lnTo>
                  <a:cubicBezTo>
                    <a:pt x="0" y="154"/>
                    <a:pt x="9" y="161"/>
                    <a:pt x="15" y="156"/>
                  </a:cubicBezTo>
                  <a:lnTo>
                    <a:pt x="141" y="50"/>
                  </a:lnTo>
                  <a:lnTo>
                    <a:pt x="91" y="51"/>
                  </a:lnTo>
                  <a:lnTo>
                    <a:pt x="124" y="1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 2352">
              <a:extLst>
                <a:ext uri="{FF2B5EF4-FFF2-40B4-BE49-F238E27FC236}">
                  <a16:creationId xmlns="" xmlns:a16="http://schemas.microsoft.com/office/drawing/2014/main" id="{FB6D45C8-DB2C-4A98-BE2B-71E01BA37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5151" y="3530600"/>
              <a:ext cx="427038" cy="203200"/>
            </a:xfrm>
            <a:custGeom>
              <a:avLst/>
              <a:gdLst>
                <a:gd name="T0" fmla="*/ 327 w 382"/>
                <a:gd name="T1" fmla="*/ 182 h 182"/>
                <a:gd name="T2" fmla="*/ 348 w 382"/>
                <a:gd name="T3" fmla="*/ 178 h 182"/>
                <a:gd name="T4" fmla="*/ 366 w 382"/>
                <a:gd name="T5" fmla="*/ 166 h 182"/>
                <a:gd name="T6" fmla="*/ 378 w 382"/>
                <a:gd name="T7" fmla="*/ 148 h 182"/>
                <a:gd name="T8" fmla="*/ 382 w 382"/>
                <a:gd name="T9" fmla="*/ 127 h 182"/>
                <a:gd name="T10" fmla="*/ 378 w 382"/>
                <a:gd name="T11" fmla="*/ 105 h 182"/>
                <a:gd name="T12" fmla="*/ 366 w 382"/>
                <a:gd name="T13" fmla="*/ 87 h 182"/>
                <a:gd name="T14" fmla="*/ 348 w 382"/>
                <a:gd name="T15" fmla="*/ 75 h 182"/>
                <a:gd name="T16" fmla="*/ 327 w 382"/>
                <a:gd name="T17" fmla="*/ 71 h 182"/>
                <a:gd name="T18" fmla="*/ 325 w 382"/>
                <a:gd name="T19" fmla="*/ 71 h 182"/>
                <a:gd name="T20" fmla="*/ 323 w 382"/>
                <a:gd name="T21" fmla="*/ 71 h 182"/>
                <a:gd name="T22" fmla="*/ 322 w 382"/>
                <a:gd name="T23" fmla="*/ 71 h 182"/>
                <a:gd name="T24" fmla="*/ 320 w 382"/>
                <a:gd name="T25" fmla="*/ 72 h 182"/>
                <a:gd name="T26" fmla="*/ 312 w 382"/>
                <a:gd name="T27" fmla="*/ 56 h 182"/>
                <a:gd name="T28" fmla="*/ 300 w 382"/>
                <a:gd name="T29" fmla="*/ 43 h 182"/>
                <a:gd name="T30" fmla="*/ 285 w 382"/>
                <a:gd name="T31" fmla="*/ 35 h 182"/>
                <a:gd name="T32" fmla="*/ 267 w 382"/>
                <a:gd name="T33" fmla="*/ 32 h 182"/>
                <a:gd name="T34" fmla="*/ 260 w 382"/>
                <a:gd name="T35" fmla="*/ 32 h 182"/>
                <a:gd name="T36" fmla="*/ 254 w 382"/>
                <a:gd name="T37" fmla="*/ 33 h 182"/>
                <a:gd name="T38" fmla="*/ 248 w 382"/>
                <a:gd name="T39" fmla="*/ 35 h 182"/>
                <a:gd name="T40" fmla="*/ 243 w 382"/>
                <a:gd name="T41" fmla="*/ 37 h 182"/>
                <a:gd name="T42" fmla="*/ 235 w 382"/>
                <a:gd name="T43" fmla="*/ 22 h 182"/>
                <a:gd name="T44" fmla="*/ 223 w 382"/>
                <a:gd name="T45" fmla="*/ 11 h 182"/>
                <a:gd name="T46" fmla="*/ 208 w 382"/>
                <a:gd name="T47" fmla="*/ 3 h 182"/>
                <a:gd name="T48" fmla="*/ 191 w 382"/>
                <a:gd name="T49" fmla="*/ 0 h 182"/>
                <a:gd name="T50" fmla="*/ 176 w 382"/>
                <a:gd name="T51" fmla="*/ 2 h 182"/>
                <a:gd name="T52" fmla="*/ 163 w 382"/>
                <a:gd name="T53" fmla="*/ 8 h 182"/>
                <a:gd name="T54" fmla="*/ 152 w 382"/>
                <a:gd name="T55" fmla="*/ 16 h 182"/>
                <a:gd name="T56" fmla="*/ 143 w 382"/>
                <a:gd name="T57" fmla="*/ 27 h 182"/>
                <a:gd name="T58" fmla="*/ 135 w 382"/>
                <a:gd name="T59" fmla="*/ 22 h 182"/>
                <a:gd name="T60" fmla="*/ 127 w 382"/>
                <a:gd name="T61" fmla="*/ 18 h 182"/>
                <a:gd name="T62" fmla="*/ 118 w 382"/>
                <a:gd name="T63" fmla="*/ 16 h 182"/>
                <a:gd name="T64" fmla="*/ 108 w 382"/>
                <a:gd name="T65" fmla="*/ 15 h 182"/>
                <a:gd name="T66" fmla="*/ 87 w 382"/>
                <a:gd name="T67" fmla="*/ 19 h 182"/>
                <a:gd name="T68" fmla="*/ 69 w 382"/>
                <a:gd name="T69" fmla="*/ 31 h 182"/>
                <a:gd name="T70" fmla="*/ 57 w 382"/>
                <a:gd name="T71" fmla="*/ 49 h 182"/>
                <a:gd name="T72" fmla="*/ 53 w 382"/>
                <a:gd name="T73" fmla="*/ 71 h 182"/>
                <a:gd name="T74" fmla="*/ 53 w 382"/>
                <a:gd name="T75" fmla="*/ 71 h 182"/>
                <a:gd name="T76" fmla="*/ 53 w 382"/>
                <a:gd name="T77" fmla="*/ 71 h 182"/>
                <a:gd name="T78" fmla="*/ 53 w 382"/>
                <a:gd name="T79" fmla="*/ 71 h 182"/>
                <a:gd name="T80" fmla="*/ 53 w 382"/>
                <a:gd name="T81" fmla="*/ 71 h 182"/>
                <a:gd name="T82" fmla="*/ 32 w 382"/>
                <a:gd name="T83" fmla="*/ 76 h 182"/>
                <a:gd name="T84" fmla="*/ 15 w 382"/>
                <a:gd name="T85" fmla="*/ 88 h 182"/>
                <a:gd name="T86" fmla="*/ 4 w 382"/>
                <a:gd name="T87" fmla="*/ 106 h 182"/>
                <a:gd name="T88" fmla="*/ 0 w 382"/>
                <a:gd name="T89" fmla="*/ 127 h 182"/>
                <a:gd name="T90" fmla="*/ 4 w 382"/>
                <a:gd name="T91" fmla="*/ 148 h 182"/>
                <a:gd name="T92" fmla="*/ 16 w 382"/>
                <a:gd name="T93" fmla="*/ 166 h 182"/>
                <a:gd name="T94" fmla="*/ 34 w 382"/>
                <a:gd name="T95" fmla="*/ 178 h 182"/>
                <a:gd name="T96" fmla="*/ 56 w 382"/>
                <a:gd name="T97" fmla="*/ 182 h 182"/>
                <a:gd name="T98" fmla="*/ 124 w 382"/>
                <a:gd name="T99" fmla="*/ 182 h 182"/>
                <a:gd name="T100" fmla="*/ 191 w 382"/>
                <a:gd name="T101" fmla="*/ 182 h 182"/>
                <a:gd name="T102" fmla="*/ 259 w 382"/>
                <a:gd name="T103" fmla="*/ 182 h 182"/>
                <a:gd name="T104" fmla="*/ 327 w 382"/>
                <a:gd name="T105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2" h="182">
                  <a:moveTo>
                    <a:pt x="327" y="182"/>
                  </a:moveTo>
                  <a:cubicBezTo>
                    <a:pt x="334" y="182"/>
                    <a:pt x="342" y="181"/>
                    <a:pt x="348" y="178"/>
                  </a:cubicBezTo>
                  <a:cubicBezTo>
                    <a:pt x="355" y="175"/>
                    <a:pt x="361" y="171"/>
                    <a:pt x="366" y="166"/>
                  </a:cubicBezTo>
                  <a:cubicBezTo>
                    <a:pt x="371" y="161"/>
                    <a:pt x="375" y="155"/>
                    <a:pt x="378" y="148"/>
                  </a:cubicBezTo>
                  <a:cubicBezTo>
                    <a:pt x="381" y="142"/>
                    <a:pt x="382" y="134"/>
                    <a:pt x="382" y="127"/>
                  </a:cubicBezTo>
                  <a:cubicBezTo>
                    <a:pt x="382" y="119"/>
                    <a:pt x="381" y="112"/>
                    <a:pt x="378" y="105"/>
                  </a:cubicBezTo>
                  <a:cubicBezTo>
                    <a:pt x="375" y="98"/>
                    <a:pt x="371" y="92"/>
                    <a:pt x="366" y="87"/>
                  </a:cubicBezTo>
                  <a:cubicBezTo>
                    <a:pt x="361" y="82"/>
                    <a:pt x="355" y="78"/>
                    <a:pt x="348" y="75"/>
                  </a:cubicBezTo>
                  <a:cubicBezTo>
                    <a:pt x="342" y="72"/>
                    <a:pt x="334" y="71"/>
                    <a:pt x="327" y="71"/>
                  </a:cubicBezTo>
                  <a:cubicBezTo>
                    <a:pt x="326" y="71"/>
                    <a:pt x="326" y="71"/>
                    <a:pt x="325" y="71"/>
                  </a:cubicBezTo>
                  <a:cubicBezTo>
                    <a:pt x="324" y="71"/>
                    <a:pt x="324" y="71"/>
                    <a:pt x="323" y="71"/>
                  </a:cubicBezTo>
                  <a:cubicBezTo>
                    <a:pt x="323" y="71"/>
                    <a:pt x="322" y="71"/>
                    <a:pt x="322" y="71"/>
                  </a:cubicBezTo>
                  <a:cubicBezTo>
                    <a:pt x="321" y="71"/>
                    <a:pt x="321" y="71"/>
                    <a:pt x="320" y="72"/>
                  </a:cubicBezTo>
                  <a:cubicBezTo>
                    <a:pt x="318" y="66"/>
                    <a:pt x="316" y="60"/>
                    <a:pt x="312" y="56"/>
                  </a:cubicBezTo>
                  <a:cubicBezTo>
                    <a:pt x="309" y="51"/>
                    <a:pt x="305" y="46"/>
                    <a:pt x="300" y="43"/>
                  </a:cubicBezTo>
                  <a:cubicBezTo>
                    <a:pt x="296" y="39"/>
                    <a:pt x="290" y="37"/>
                    <a:pt x="285" y="35"/>
                  </a:cubicBezTo>
                  <a:cubicBezTo>
                    <a:pt x="279" y="33"/>
                    <a:pt x="273" y="32"/>
                    <a:pt x="267" y="32"/>
                  </a:cubicBezTo>
                  <a:cubicBezTo>
                    <a:pt x="265" y="32"/>
                    <a:pt x="263" y="32"/>
                    <a:pt x="260" y="32"/>
                  </a:cubicBezTo>
                  <a:cubicBezTo>
                    <a:pt x="258" y="32"/>
                    <a:pt x="256" y="33"/>
                    <a:pt x="254" y="33"/>
                  </a:cubicBezTo>
                  <a:cubicBezTo>
                    <a:pt x="252" y="34"/>
                    <a:pt x="250" y="34"/>
                    <a:pt x="248" y="35"/>
                  </a:cubicBezTo>
                  <a:cubicBezTo>
                    <a:pt x="247" y="35"/>
                    <a:pt x="245" y="36"/>
                    <a:pt x="243" y="37"/>
                  </a:cubicBezTo>
                  <a:cubicBezTo>
                    <a:pt x="241" y="32"/>
                    <a:pt x="238" y="27"/>
                    <a:pt x="235" y="22"/>
                  </a:cubicBezTo>
                  <a:cubicBezTo>
                    <a:pt x="231" y="18"/>
                    <a:pt x="227" y="14"/>
                    <a:pt x="223" y="11"/>
                  </a:cubicBezTo>
                  <a:cubicBezTo>
                    <a:pt x="218" y="7"/>
                    <a:pt x="213" y="5"/>
                    <a:pt x="208" y="3"/>
                  </a:cubicBezTo>
                  <a:cubicBezTo>
                    <a:pt x="202" y="1"/>
                    <a:pt x="197" y="0"/>
                    <a:pt x="191" y="0"/>
                  </a:cubicBezTo>
                  <a:cubicBezTo>
                    <a:pt x="185" y="0"/>
                    <a:pt x="181" y="1"/>
                    <a:pt x="176" y="2"/>
                  </a:cubicBezTo>
                  <a:cubicBezTo>
                    <a:pt x="171" y="3"/>
                    <a:pt x="167" y="5"/>
                    <a:pt x="163" y="8"/>
                  </a:cubicBezTo>
                  <a:cubicBezTo>
                    <a:pt x="159" y="10"/>
                    <a:pt x="155" y="13"/>
                    <a:pt x="152" y="16"/>
                  </a:cubicBezTo>
                  <a:cubicBezTo>
                    <a:pt x="148" y="20"/>
                    <a:pt x="145" y="23"/>
                    <a:pt x="143" y="27"/>
                  </a:cubicBezTo>
                  <a:cubicBezTo>
                    <a:pt x="141" y="25"/>
                    <a:pt x="138" y="24"/>
                    <a:pt x="135" y="22"/>
                  </a:cubicBezTo>
                  <a:cubicBezTo>
                    <a:pt x="133" y="21"/>
                    <a:pt x="130" y="19"/>
                    <a:pt x="127" y="18"/>
                  </a:cubicBezTo>
                  <a:cubicBezTo>
                    <a:pt x="124" y="17"/>
                    <a:pt x="121" y="16"/>
                    <a:pt x="118" y="16"/>
                  </a:cubicBezTo>
                  <a:cubicBezTo>
                    <a:pt x="115" y="15"/>
                    <a:pt x="112" y="15"/>
                    <a:pt x="108" y="15"/>
                  </a:cubicBezTo>
                  <a:cubicBezTo>
                    <a:pt x="101" y="15"/>
                    <a:pt x="93" y="17"/>
                    <a:pt x="87" y="19"/>
                  </a:cubicBezTo>
                  <a:cubicBezTo>
                    <a:pt x="80" y="22"/>
                    <a:pt x="74" y="26"/>
                    <a:pt x="69" y="31"/>
                  </a:cubicBezTo>
                  <a:cubicBezTo>
                    <a:pt x="64" y="36"/>
                    <a:pt x="60" y="42"/>
                    <a:pt x="57" y="49"/>
                  </a:cubicBezTo>
                  <a:cubicBezTo>
                    <a:pt x="54" y="56"/>
                    <a:pt x="53" y="63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lnTo>
                    <a:pt x="53" y="71"/>
                  </a:lnTo>
                  <a:cubicBezTo>
                    <a:pt x="53" y="71"/>
                    <a:pt x="53" y="71"/>
                    <a:pt x="53" y="71"/>
                  </a:cubicBezTo>
                  <a:lnTo>
                    <a:pt x="53" y="71"/>
                  </a:lnTo>
                  <a:cubicBezTo>
                    <a:pt x="45" y="72"/>
                    <a:pt x="38" y="73"/>
                    <a:pt x="32" y="76"/>
                  </a:cubicBezTo>
                  <a:cubicBezTo>
                    <a:pt x="26" y="79"/>
                    <a:pt x="20" y="83"/>
                    <a:pt x="15" y="88"/>
                  </a:cubicBezTo>
                  <a:cubicBezTo>
                    <a:pt x="11" y="93"/>
                    <a:pt x="7" y="99"/>
                    <a:pt x="4" y="106"/>
                  </a:cubicBezTo>
                  <a:cubicBezTo>
                    <a:pt x="2" y="112"/>
                    <a:pt x="0" y="119"/>
                    <a:pt x="0" y="127"/>
                  </a:cubicBezTo>
                  <a:cubicBezTo>
                    <a:pt x="0" y="134"/>
                    <a:pt x="2" y="142"/>
                    <a:pt x="4" y="148"/>
                  </a:cubicBezTo>
                  <a:cubicBezTo>
                    <a:pt x="7" y="155"/>
                    <a:pt x="11" y="161"/>
                    <a:pt x="16" y="166"/>
                  </a:cubicBezTo>
                  <a:cubicBezTo>
                    <a:pt x="22" y="171"/>
                    <a:pt x="28" y="175"/>
                    <a:pt x="34" y="178"/>
                  </a:cubicBezTo>
                  <a:cubicBezTo>
                    <a:pt x="41" y="181"/>
                    <a:pt x="48" y="182"/>
                    <a:pt x="56" y="182"/>
                  </a:cubicBezTo>
                  <a:lnTo>
                    <a:pt x="124" y="182"/>
                  </a:lnTo>
                  <a:lnTo>
                    <a:pt x="191" y="182"/>
                  </a:lnTo>
                  <a:lnTo>
                    <a:pt x="259" y="182"/>
                  </a:lnTo>
                  <a:lnTo>
                    <a:pt x="327" y="182"/>
                  </a:ln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 2353">
              <a:extLst>
                <a:ext uri="{FF2B5EF4-FFF2-40B4-BE49-F238E27FC236}">
                  <a16:creationId xmlns="" xmlns:a16="http://schemas.microsoft.com/office/drawing/2014/main" id="{A5A1F9EE-4B58-4040-A1D3-3FDCA7BC0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5476" y="3548063"/>
              <a:ext cx="123825" cy="106363"/>
            </a:xfrm>
            <a:custGeom>
              <a:avLst/>
              <a:gdLst>
                <a:gd name="T0" fmla="*/ 16 w 111"/>
                <a:gd name="T1" fmla="*/ 95 h 95"/>
                <a:gd name="T2" fmla="*/ 4 w 111"/>
                <a:gd name="T3" fmla="*/ 78 h 95"/>
                <a:gd name="T4" fmla="*/ 0 w 111"/>
                <a:gd name="T5" fmla="*/ 56 h 95"/>
                <a:gd name="T6" fmla="*/ 4 w 111"/>
                <a:gd name="T7" fmla="*/ 34 h 95"/>
                <a:gd name="T8" fmla="*/ 16 w 111"/>
                <a:gd name="T9" fmla="*/ 16 h 95"/>
                <a:gd name="T10" fmla="*/ 34 w 111"/>
                <a:gd name="T11" fmla="*/ 4 h 95"/>
                <a:gd name="T12" fmla="*/ 55 w 111"/>
                <a:gd name="T13" fmla="*/ 0 h 95"/>
                <a:gd name="T14" fmla="*/ 77 w 111"/>
                <a:gd name="T15" fmla="*/ 4 h 95"/>
                <a:gd name="T16" fmla="*/ 95 w 111"/>
                <a:gd name="T17" fmla="*/ 16 h 95"/>
                <a:gd name="T18" fmla="*/ 107 w 111"/>
                <a:gd name="T19" fmla="*/ 34 h 95"/>
                <a:gd name="T20" fmla="*/ 111 w 111"/>
                <a:gd name="T21" fmla="*/ 56 h 95"/>
                <a:gd name="T22" fmla="*/ 107 w 111"/>
                <a:gd name="T23" fmla="*/ 7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95">
                  <a:moveTo>
                    <a:pt x="16" y="95"/>
                  </a:moveTo>
                  <a:cubicBezTo>
                    <a:pt x="11" y="90"/>
                    <a:pt x="7" y="84"/>
                    <a:pt x="4" y="78"/>
                  </a:cubicBezTo>
                  <a:cubicBezTo>
                    <a:pt x="1" y="71"/>
                    <a:pt x="0" y="64"/>
                    <a:pt x="0" y="56"/>
                  </a:cubicBezTo>
                  <a:cubicBezTo>
                    <a:pt x="0" y="48"/>
                    <a:pt x="1" y="41"/>
                    <a:pt x="4" y="34"/>
                  </a:cubicBezTo>
                  <a:cubicBezTo>
                    <a:pt x="7" y="27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0" y="2"/>
                    <a:pt x="48" y="0"/>
                    <a:pt x="55" y="0"/>
                  </a:cubicBezTo>
                  <a:cubicBezTo>
                    <a:pt x="63" y="0"/>
                    <a:pt x="70" y="2"/>
                    <a:pt x="77" y="4"/>
                  </a:cubicBezTo>
                  <a:cubicBezTo>
                    <a:pt x="84" y="7"/>
                    <a:pt x="90" y="11"/>
                    <a:pt x="95" y="16"/>
                  </a:cubicBezTo>
                  <a:cubicBezTo>
                    <a:pt x="100" y="21"/>
                    <a:pt x="104" y="27"/>
                    <a:pt x="107" y="34"/>
                  </a:cubicBezTo>
                  <a:cubicBezTo>
                    <a:pt x="110" y="41"/>
                    <a:pt x="111" y="48"/>
                    <a:pt x="111" y="56"/>
                  </a:cubicBezTo>
                  <a:cubicBezTo>
                    <a:pt x="111" y="64"/>
                    <a:pt x="110" y="71"/>
                    <a:pt x="107" y="78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2354">
              <a:extLst>
                <a:ext uri="{FF2B5EF4-FFF2-40B4-BE49-F238E27FC236}">
                  <a16:creationId xmlns="" xmlns:a16="http://schemas.microsoft.com/office/drawing/2014/main" id="{6FADF354-A966-45CE-BA2D-FD07AA8F6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801" y="3627438"/>
              <a:ext cx="77788" cy="57150"/>
            </a:xfrm>
            <a:custGeom>
              <a:avLst/>
              <a:gdLst>
                <a:gd name="T0" fmla="*/ 0 w 70"/>
                <a:gd name="T1" fmla="*/ 4 h 51"/>
                <a:gd name="T2" fmla="*/ 20 w 70"/>
                <a:gd name="T3" fmla="*/ 0 h 51"/>
                <a:gd name="T4" fmla="*/ 40 w 70"/>
                <a:gd name="T5" fmla="*/ 4 h 51"/>
                <a:gd name="T6" fmla="*/ 55 w 70"/>
                <a:gd name="T7" fmla="*/ 15 h 51"/>
                <a:gd name="T8" fmla="*/ 66 w 70"/>
                <a:gd name="T9" fmla="*/ 31 h 51"/>
                <a:gd name="T10" fmla="*/ 70 w 70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1">
                  <a:moveTo>
                    <a:pt x="0" y="4"/>
                  </a:moveTo>
                  <a:cubicBezTo>
                    <a:pt x="6" y="2"/>
                    <a:pt x="13" y="0"/>
                    <a:pt x="20" y="0"/>
                  </a:cubicBezTo>
                  <a:cubicBezTo>
                    <a:pt x="27" y="0"/>
                    <a:pt x="33" y="2"/>
                    <a:pt x="40" y="4"/>
                  </a:cubicBezTo>
                  <a:cubicBezTo>
                    <a:pt x="46" y="7"/>
                    <a:pt x="51" y="11"/>
                    <a:pt x="55" y="15"/>
                  </a:cubicBezTo>
                  <a:cubicBezTo>
                    <a:pt x="60" y="20"/>
                    <a:pt x="64" y="25"/>
                    <a:pt x="66" y="31"/>
                  </a:cubicBezTo>
                  <a:cubicBezTo>
                    <a:pt x="69" y="37"/>
                    <a:pt x="70" y="44"/>
                    <a:pt x="70" y="51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 2355">
              <a:extLst>
                <a:ext uri="{FF2B5EF4-FFF2-40B4-BE49-F238E27FC236}">
                  <a16:creationId xmlns="" xmlns:a16="http://schemas.microsoft.com/office/drawing/2014/main" id="{ABEA6006-904B-4138-8EA6-41EBBB618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488" y="3530600"/>
              <a:ext cx="114300" cy="87313"/>
            </a:xfrm>
            <a:custGeom>
              <a:avLst/>
              <a:gdLst>
                <a:gd name="T0" fmla="*/ 0 w 103"/>
                <a:gd name="T1" fmla="*/ 27 h 78"/>
                <a:gd name="T2" fmla="*/ 8 w 103"/>
                <a:gd name="T3" fmla="*/ 17 h 78"/>
                <a:gd name="T4" fmla="*/ 26 w 103"/>
                <a:gd name="T5" fmla="*/ 5 h 78"/>
                <a:gd name="T6" fmla="*/ 48 w 103"/>
                <a:gd name="T7" fmla="*/ 0 h 78"/>
                <a:gd name="T8" fmla="*/ 69 w 103"/>
                <a:gd name="T9" fmla="*/ 5 h 78"/>
                <a:gd name="T10" fmla="*/ 87 w 103"/>
                <a:gd name="T11" fmla="*/ 17 h 78"/>
                <a:gd name="T12" fmla="*/ 99 w 103"/>
                <a:gd name="T13" fmla="*/ 34 h 78"/>
                <a:gd name="T14" fmla="*/ 103 w 103"/>
                <a:gd name="T15" fmla="*/ 56 h 78"/>
                <a:gd name="T16" fmla="*/ 99 w 103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78">
                  <a:moveTo>
                    <a:pt x="0" y="27"/>
                  </a:moveTo>
                  <a:cubicBezTo>
                    <a:pt x="2" y="23"/>
                    <a:pt x="5" y="20"/>
                    <a:pt x="8" y="17"/>
                  </a:cubicBezTo>
                  <a:cubicBezTo>
                    <a:pt x="13" y="12"/>
                    <a:pt x="19" y="7"/>
                    <a:pt x="26" y="5"/>
                  </a:cubicBezTo>
                  <a:cubicBezTo>
                    <a:pt x="33" y="2"/>
                    <a:pt x="40" y="0"/>
                    <a:pt x="48" y="0"/>
                  </a:cubicBezTo>
                  <a:cubicBezTo>
                    <a:pt x="55" y="0"/>
                    <a:pt x="63" y="2"/>
                    <a:pt x="69" y="5"/>
                  </a:cubicBezTo>
                  <a:cubicBezTo>
                    <a:pt x="76" y="7"/>
                    <a:pt x="82" y="12"/>
                    <a:pt x="87" y="17"/>
                  </a:cubicBezTo>
                  <a:cubicBezTo>
                    <a:pt x="92" y="22"/>
                    <a:pt x="96" y="28"/>
                    <a:pt x="99" y="34"/>
                  </a:cubicBezTo>
                  <a:cubicBezTo>
                    <a:pt x="102" y="41"/>
                    <a:pt x="103" y="48"/>
                    <a:pt x="103" y="56"/>
                  </a:cubicBezTo>
                  <a:cubicBezTo>
                    <a:pt x="103" y="64"/>
                    <a:pt x="102" y="71"/>
                    <a:pt x="99" y="78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 2356">
              <a:extLst>
                <a:ext uri="{FF2B5EF4-FFF2-40B4-BE49-F238E27FC236}">
                  <a16:creationId xmlns="" xmlns:a16="http://schemas.microsoft.com/office/drawing/2014/main" id="{2C2257DE-A7AA-4206-A7B9-58E4E0671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1688" y="3636963"/>
              <a:ext cx="77788" cy="25400"/>
            </a:xfrm>
            <a:custGeom>
              <a:avLst/>
              <a:gdLst>
                <a:gd name="T0" fmla="*/ 69 w 69"/>
                <a:gd name="T1" fmla="*/ 0 h 23"/>
                <a:gd name="T2" fmla="*/ 55 w 69"/>
                <a:gd name="T3" fmla="*/ 14 h 23"/>
                <a:gd name="T4" fmla="*/ 37 w 69"/>
                <a:gd name="T5" fmla="*/ 22 h 23"/>
                <a:gd name="T6" fmla="*/ 18 w 69"/>
                <a:gd name="T7" fmla="*/ 22 h 23"/>
                <a:gd name="T8" fmla="*/ 0 w 69"/>
                <a:gd name="T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23">
                  <a:moveTo>
                    <a:pt x="69" y="0"/>
                  </a:moveTo>
                  <a:cubicBezTo>
                    <a:pt x="65" y="6"/>
                    <a:pt x="60" y="11"/>
                    <a:pt x="55" y="14"/>
                  </a:cubicBezTo>
                  <a:cubicBezTo>
                    <a:pt x="49" y="18"/>
                    <a:pt x="43" y="20"/>
                    <a:pt x="37" y="22"/>
                  </a:cubicBezTo>
                  <a:cubicBezTo>
                    <a:pt x="31" y="23"/>
                    <a:pt x="24" y="23"/>
                    <a:pt x="18" y="22"/>
                  </a:cubicBezTo>
                  <a:cubicBezTo>
                    <a:pt x="12" y="21"/>
                    <a:pt x="6" y="18"/>
                    <a:pt x="0" y="14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 2357">
              <a:extLst>
                <a:ext uri="{FF2B5EF4-FFF2-40B4-BE49-F238E27FC236}">
                  <a16:creationId xmlns="" xmlns:a16="http://schemas.microsoft.com/office/drawing/2014/main" id="{45D1C878-E431-4E7C-A945-2E8698D7D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201" y="3567113"/>
              <a:ext cx="87313" cy="85725"/>
            </a:xfrm>
            <a:custGeom>
              <a:avLst/>
              <a:gdLst>
                <a:gd name="T0" fmla="*/ 0 w 78"/>
                <a:gd name="T1" fmla="*/ 4 h 77"/>
                <a:gd name="T2" fmla="*/ 22 w 78"/>
                <a:gd name="T3" fmla="*/ 0 h 77"/>
                <a:gd name="T4" fmla="*/ 43 w 78"/>
                <a:gd name="T5" fmla="*/ 4 h 77"/>
                <a:gd name="T6" fmla="*/ 61 w 78"/>
                <a:gd name="T7" fmla="*/ 16 h 77"/>
                <a:gd name="T8" fmla="*/ 73 w 78"/>
                <a:gd name="T9" fmla="*/ 34 h 77"/>
                <a:gd name="T10" fmla="*/ 78 w 78"/>
                <a:gd name="T11" fmla="*/ 55 h 77"/>
                <a:gd name="T12" fmla="*/ 73 w 7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7">
                  <a:moveTo>
                    <a:pt x="0" y="4"/>
                  </a:moveTo>
                  <a:cubicBezTo>
                    <a:pt x="7" y="1"/>
                    <a:pt x="14" y="0"/>
                    <a:pt x="22" y="0"/>
                  </a:cubicBezTo>
                  <a:cubicBezTo>
                    <a:pt x="29" y="0"/>
                    <a:pt x="37" y="1"/>
                    <a:pt x="43" y="4"/>
                  </a:cubicBezTo>
                  <a:cubicBezTo>
                    <a:pt x="50" y="7"/>
                    <a:pt x="56" y="11"/>
                    <a:pt x="61" y="16"/>
                  </a:cubicBezTo>
                  <a:cubicBezTo>
                    <a:pt x="66" y="21"/>
                    <a:pt x="70" y="27"/>
                    <a:pt x="73" y="34"/>
                  </a:cubicBezTo>
                  <a:cubicBezTo>
                    <a:pt x="76" y="40"/>
                    <a:pt x="78" y="48"/>
                    <a:pt x="78" y="55"/>
                  </a:cubicBezTo>
                  <a:cubicBezTo>
                    <a:pt x="78" y="63"/>
                    <a:pt x="76" y="70"/>
                    <a:pt x="73" y="77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 2358">
              <a:extLst>
                <a:ext uri="{FF2B5EF4-FFF2-40B4-BE49-F238E27FC236}">
                  <a16:creationId xmlns="" xmlns:a16="http://schemas.microsoft.com/office/drawing/2014/main" id="{64049EAA-4164-4380-B1B8-539EEBDE8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5151" y="3609975"/>
              <a:ext cx="120650" cy="123825"/>
            </a:xfrm>
            <a:custGeom>
              <a:avLst/>
              <a:gdLst>
                <a:gd name="T0" fmla="*/ 107 w 107"/>
                <a:gd name="T1" fmla="*/ 77 h 111"/>
                <a:gd name="T2" fmla="*/ 95 w 107"/>
                <a:gd name="T3" fmla="*/ 95 h 111"/>
                <a:gd name="T4" fmla="*/ 78 w 107"/>
                <a:gd name="T5" fmla="*/ 107 h 111"/>
                <a:gd name="T6" fmla="*/ 56 w 107"/>
                <a:gd name="T7" fmla="*/ 111 h 111"/>
                <a:gd name="T8" fmla="*/ 34 w 107"/>
                <a:gd name="T9" fmla="*/ 107 h 111"/>
                <a:gd name="T10" fmla="*/ 16 w 107"/>
                <a:gd name="T11" fmla="*/ 95 h 111"/>
                <a:gd name="T12" fmla="*/ 4 w 107"/>
                <a:gd name="T13" fmla="*/ 77 h 111"/>
                <a:gd name="T14" fmla="*/ 0 w 107"/>
                <a:gd name="T15" fmla="*/ 56 h 111"/>
                <a:gd name="T16" fmla="*/ 4 w 107"/>
                <a:gd name="T17" fmla="*/ 34 h 111"/>
                <a:gd name="T18" fmla="*/ 16 w 107"/>
                <a:gd name="T19" fmla="*/ 16 h 111"/>
                <a:gd name="T20" fmla="*/ 34 w 107"/>
                <a:gd name="T21" fmla="*/ 4 h 111"/>
                <a:gd name="T22" fmla="*/ 53 w 107"/>
                <a:gd name="T2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111">
                  <a:moveTo>
                    <a:pt x="107" y="77"/>
                  </a:moveTo>
                  <a:cubicBezTo>
                    <a:pt x="104" y="84"/>
                    <a:pt x="100" y="90"/>
                    <a:pt x="95" y="95"/>
                  </a:cubicBezTo>
                  <a:cubicBezTo>
                    <a:pt x="90" y="100"/>
                    <a:pt x="84" y="104"/>
                    <a:pt x="78" y="107"/>
                  </a:cubicBezTo>
                  <a:cubicBezTo>
                    <a:pt x="71" y="110"/>
                    <a:pt x="64" y="111"/>
                    <a:pt x="56" y="111"/>
                  </a:cubicBezTo>
                  <a:cubicBezTo>
                    <a:pt x="48" y="111"/>
                    <a:pt x="41" y="110"/>
                    <a:pt x="34" y="107"/>
                  </a:cubicBezTo>
                  <a:cubicBezTo>
                    <a:pt x="28" y="104"/>
                    <a:pt x="22" y="100"/>
                    <a:pt x="16" y="95"/>
                  </a:cubicBezTo>
                  <a:cubicBezTo>
                    <a:pt x="11" y="90"/>
                    <a:pt x="7" y="84"/>
                    <a:pt x="4" y="77"/>
                  </a:cubicBezTo>
                  <a:cubicBezTo>
                    <a:pt x="2" y="71"/>
                    <a:pt x="0" y="63"/>
                    <a:pt x="0" y="56"/>
                  </a:cubicBezTo>
                  <a:cubicBezTo>
                    <a:pt x="0" y="48"/>
                    <a:pt x="2" y="41"/>
                    <a:pt x="4" y="34"/>
                  </a:cubicBezTo>
                  <a:cubicBezTo>
                    <a:pt x="7" y="27"/>
                    <a:pt x="11" y="21"/>
                    <a:pt x="16" y="16"/>
                  </a:cubicBezTo>
                  <a:cubicBezTo>
                    <a:pt x="22" y="11"/>
                    <a:pt x="28" y="7"/>
                    <a:pt x="34" y="4"/>
                  </a:cubicBezTo>
                  <a:cubicBezTo>
                    <a:pt x="40" y="2"/>
                    <a:pt x="46" y="0"/>
                    <a:pt x="53" y="0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2359">
              <a:extLst>
                <a:ext uri="{FF2B5EF4-FFF2-40B4-BE49-F238E27FC236}">
                  <a16:creationId xmlns="" xmlns:a16="http://schemas.microsoft.com/office/drawing/2014/main" id="{EF4DE8CF-B5C0-41BC-8322-EA4099115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3126" y="3609975"/>
              <a:ext cx="119063" cy="123825"/>
            </a:xfrm>
            <a:custGeom>
              <a:avLst/>
              <a:gdLst>
                <a:gd name="T0" fmla="*/ 46 w 107"/>
                <a:gd name="T1" fmla="*/ 0 h 111"/>
                <a:gd name="T2" fmla="*/ 52 w 107"/>
                <a:gd name="T3" fmla="*/ 0 h 111"/>
                <a:gd name="T4" fmla="*/ 73 w 107"/>
                <a:gd name="T5" fmla="*/ 4 h 111"/>
                <a:gd name="T6" fmla="*/ 91 w 107"/>
                <a:gd name="T7" fmla="*/ 16 h 111"/>
                <a:gd name="T8" fmla="*/ 103 w 107"/>
                <a:gd name="T9" fmla="*/ 34 h 111"/>
                <a:gd name="T10" fmla="*/ 107 w 107"/>
                <a:gd name="T11" fmla="*/ 56 h 111"/>
                <a:gd name="T12" fmla="*/ 103 w 107"/>
                <a:gd name="T13" fmla="*/ 77 h 111"/>
                <a:gd name="T14" fmla="*/ 91 w 107"/>
                <a:gd name="T15" fmla="*/ 95 h 111"/>
                <a:gd name="T16" fmla="*/ 73 w 107"/>
                <a:gd name="T17" fmla="*/ 107 h 111"/>
                <a:gd name="T18" fmla="*/ 52 w 107"/>
                <a:gd name="T19" fmla="*/ 111 h 111"/>
                <a:gd name="T20" fmla="*/ 30 w 107"/>
                <a:gd name="T21" fmla="*/ 107 h 111"/>
                <a:gd name="T22" fmla="*/ 12 w 107"/>
                <a:gd name="T23" fmla="*/ 95 h 111"/>
                <a:gd name="T24" fmla="*/ 0 w 107"/>
                <a:gd name="T25" fmla="*/ 7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11">
                  <a:moveTo>
                    <a:pt x="46" y="0"/>
                  </a:moveTo>
                  <a:cubicBezTo>
                    <a:pt x="48" y="0"/>
                    <a:pt x="50" y="0"/>
                    <a:pt x="52" y="0"/>
                  </a:cubicBezTo>
                  <a:cubicBezTo>
                    <a:pt x="59" y="0"/>
                    <a:pt x="67" y="1"/>
                    <a:pt x="73" y="4"/>
                  </a:cubicBezTo>
                  <a:cubicBezTo>
                    <a:pt x="80" y="7"/>
                    <a:pt x="86" y="11"/>
                    <a:pt x="91" y="16"/>
                  </a:cubicBezTo>
                  <a:cubicBezTo>
                    <a:pt x="96" y="21"/>
                    <a:pt x="100" y="27"/>
                    <a:pt x="103" y="34"/>
                  </a:cubicBezTo>
                  <a:cubicBezTo>
                    <a:pt x="106" y="41"/>
                    <a:pt x="107" y="48"/>
                    <a:pt x="107" y="56"/>
                  </a:cubicBezTo>
                  <a:cubicBezTo>
                    <a:pt x="107" y="63"/>
                    <a:pt x="106" y="71"/>
                    <a:pt x="103" y="77"/>
                  </a:cubicBezTo>
                  <a:cubicBezTo>
                    <a:pt x="100" y="84"/>
                    <a:pt x="96" y="90"/>
                    <a:pt x="91" y="95"/>
                  </a:cubicBezTo>
                  <a:cubicBezTo>
                    <a:pt x="86" y="100"/>
                    <a:pt x="80" y="104"/>
                    <a:pt x="73" y="107"/>
                  </a:cubicBezTo>
                  <a:cubicBezTo>
                    <a:pt x="67" y="110"/>
                    <a:pt x="59" y="111"/>
                    <a:pt x="52" y="111"/>
                  </a:cubicBezTo>
                  <a:cubicBezTo>
                    <a:pt x="44" y="111"/>
                    <a:pt x="37" y="110"/>
                    <a:pt x="30" y="107"/>
                  </a:cubicBezTo>
                  <a:cubicBezTo>
                    <a:pt x="23" y="104"/>
                    <a:pt x="17" y="100"/>
                    <a:pt x="12" y="95"/>
                  </a:cubicBezTo>
                  <a:cubicBezTo>
                    <a:pt x="7" y="90"/>
                    <a:pt x="3" y="84"/>
                    <a:pt x="0" y="77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54" name="Team2" descr="{&quot;Key&quot;:&quot;POWER_USER_SHAPE_ICON&quot;,&quot;Value&quot;:&quot;POWER_USER_SHAPE_ICON_STYLE_1&quot;}">
              <a:extLst>
                <a:ext uri="{FF2B5EF4-FFF2-40B4-BE49-F238E27FC236}">
                  <a16:creationId xmlns="" xmlns:a16="http://schemas.microsoft.com/office/drawing/2014/main" id="{69146AD7-9678-476F-95AF-A785C58D2CB2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4276788" y="3959841"/>
              <a:ext cx="571558" cy="493568"/>
              <a:chOff x="7043738" y="352425"/>
              <a:chExt cx="814388" cy="703263"/>
            </a:xfrm>
            <a:grpFill/>
          </p:grpSpPr>
          <p:sp>
            <p:nvSpPr>
              <p:cNvPr id="57" name="Freeform 107">
                <a:extLst>
                  <a:ext uri="{FF2B5EF4-FFF2-40B4-BE49-F238E27FC236}">
                    <a16:creationId xmlns="" xmlns:a16="http://schemas.microsoft.com/office/drawing/2014/main" id="{EF94F97D-E4EB-4110-9FF2-0E3ECE485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8213" y="581025"/>
                <a:ext cx="327025" cy="474663"/>
              </a:xfrm>
              <a:custGeom>
                <a:avLst/>
                <a:gdLst>
                  <a:gd name="T0" fmla="*/ 362 w 436"/>
                  <a:gd name="T1" fmla="*/ 631 h 631"/>
                  <a:gd name="T2" fmla="*/ 362 w 436"/>
                  <a:gd name="T3" fmla="*/ 455 h 631"/>
                  <a:gd name="T4" fmla="*/ 435 w 436"/>
                  <a:gd name="T5" fmla="*/ 391 h 631"/>
                  <a:gd name="T6" fmla="*/ 436 w 436"/>
                  <a:gd name="T7" fmla="*/ 168 h 631"/>
                  <a:gd name="T8" fmla="*/ 292 w 436"/>
                  <a:gd name="T9" fmla="*/ 0 h 631"/>
                  <a:gd name="T10" fmla="*/ 218 w 436"/>
                  <a:gd name="T11" fmla="*/ 62 h 631"/>
                  <a:gd name="T12" fmla="*/ 144 w 436"/>
                  <a:gd name="T13" fmla="*/ 0 h 631"/>
                  <a:gd name="T14" fmla="*/ 0 w 436"/>
                  <a:gd name="T15" fmla="*/ 168 h 631"/>
                  <a:gd name="T16" fmla="*/ 0 w 436"/>
                  <a:gd name="T17" fmla="*/ 391 h 631"/>
                  <a:gd name="T18" fmla="*/ 73 w 436"/>
                  <a:gd name="T19" fmla="*/ 455 h 631"/>
                  <a:gd name="T20" fmla="*/ 73 w 436"/>
                  <a:gd name="T21" fmla="*/ 631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6" h="631">
                    <a:moveTo>
                      <a:pt x="362" y="631"/>
                    </a:moveTo>
                    <a:lnTo>
                      <a:pt x="362" y="455"/>
                    </a:lnTo>
                    <a:cubicBezTo>
                      <a:pt x="411" y="455"/>
                      <a:pt x="435" y="426"/>
                      <a:pt x="435" y="391"/>
                    </a:cubicBezTo>
                    <a:lnTo>
                      <a:pt x="436" y="168"/>
                    </a:lnTo>
                    <a:cubicBezTo>
                      <a:pt x="436" y="52"/>
                      <a:pt x="386" y="6"/>
                      <a:pt x="292" y="0"/>
                    </a:cubicBezTo>
                    <a:lnTo>
                      <a:pt x="218" y="62"/>
                    </a:lnTo>
                    <a:lnTo>
                      <a:pt x="144" y="0"/>
                    </a:lnTo>
                    <a:cubicBezTo>
                      <a:pt x="50" y="6"/>
                      <a:pt x="0" y="52"/>
                      <a:pt x="0" y="168"/>
                    </a:cubicBezTo>
                    <a:lnTo>
                      <a:pt x="0" y="391"/>
                    </a:lnTo>
                    <a:cubicBezTo>
                      <a:pt x="0" y="426"/>
                      <a:pt x="26" y="455"/>
                      <a:pt x="73" y="455"/>
                    </a:cubicBezTo>
                    <a:lnTo>
                      <a:pt x="73" y="631"/>
                    </a:ln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Oval 108">
                <a:extLst>
                  <a:ext uri="{FF2B5EF4-FFF2-40B4-BE49-F238E27FC236}">
                    <a16:creationId xmlns="" xmlns:a16="http://schemas.microsoft.com/office/drawing/2014/main" id="{ABED82F6-6B06-4E39-83F7-354072016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59650" y="352425"/>
                <a:ext cx="182563" cy="184150"/>
              </a:xfrm>
              <a:prstGeom prst="ellipse">
                <a:avLst/>
              </a:pr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Freeform 109">
                <a:extLst>
                  <a:ext uri="{FF2B5EF4-FFF2-40B4-BE49-F238E27FC236}">
                    <a16:creationId xmlns="" xmlns:a16="http://schemas.microsoft.com/office/drawing/2014/main" id="{9CF6943A-8445-40B8-8710-23D22D9B6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3738" y="644525"/>
                <a:ext cx="244475" cy="381000"/>
              </a:xfrm>
              <a:custGeom>
                <a:avLst/>
                <a:gdLst>
                  <a:gd name="T0" fmla="*/ 325 w 325"/>
                  <a:gd name="T1" fmla="*/ 63 h 508"/>
                  <a:gd name="T2" fmla="*/ 224 w 325"/>
                  <a:gd name="T3" fmla="*/ 0 h 508"/>
                  <a:gd name="T4" fmla="*/ 168 w 325"/>
                  <a:gd name="T5" fmla="*/ 45 h 508"/>
                  <a:gd name="T6" fmla="*/ 111 w 325"/>
                  <a:gd name="T7" fmla="*/ 0 h 508"/>
                  <a:gd name="T8" fmla="*/ 0 w 325"/>
                  <a:gd name="T9" fmla="*/ 129 h 508"/>
                  <a:gd name="T10" fmla="*/ 1 w 325"/>
                  <a:gd name="T11" fmla="*/ 301 h 508"/>
                  <a:gd name="T12" fmla="*/ 56 w 325"/>
                  <a:gd name="T13" fmla="*/ 350 h 508"/>
                  <a:gd name="T14" fmla="*/ 56 w 325"/>
                  <a:gd name="T15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5" h="508">
                    <a:moveTo>
                      <a:pt x="325" y="63"/>
                    </a:moveTo>
                    <a:cubicBezTo>
                      <a:pt x="309" y="22"/>
                      <a:pt x="275" y="3"/>
                      <a:pt x="224" y="0"/>
                    </a:cubicBezTo>
                    <a:lnTo>
                      <a:pt x="168" y="45"/>
                    </a:lnTo>
                    <a:lnTo>
                      <a:pt x="111" y="0"/>
                    </a:lnTo>
                    <a:cubicBezTo>
                      <a:pt x="39" y="5"/>
                      <a:pt x="0" y="41"/>
                      <a:pt x="0" y="129"/>
                    </a:cubicBezTo>
                    <a:lnTo>
                      <a:pt x="1" y="301"/>
                    </a:lnTo>
                    <a:cubicBezTo>
                      <a:pt x="1" y="328"/>
                      <a:pt x="20" y="350"/>
                      <a:pt x="56" y="350"/>
                    </a:cubicBezTo>
                    <a:lnTo>
                      <a:pt x="56" y="508"/>
                    </a:ln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Freeform 110">
                <a:extLst>
                  <a:ext uri="{FF2B5EF4-FFF2-40B4-BE49-F238E27FC236}">
                    <a16:creationId xmlns="" xmlns:a16="http://schemas.microsoft.com/office/drawing/2014/main" id="{4DBD6464-B66F-4954-AA0B-D2D44BEFD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3288" y="890588"/>
                <a:ext cx="36513" cy="134938"/>
              </a:xfrm>
              <a:custGeom>
                <a:avLst/>
                <a:gdLst>
                  <a:gd name="T0" fmla="*/ 0 w 49"/>
                  <a:gd name="T1" fmla="*/ 180 h 180"/>
                  <a:gd name="T2" fmla="*/ 1 w 49"/>
                  <a:gd name="T3" fmla="*/ 22 h 180"/>
                  <a:gd name="T4" fmla="*/ 49 w 49"/>
                  <a:gd name="T5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180">
                    <a:moveTo>
                      <a:pt x="0" y="180"/>
                    </a:moveTo>
                    <a:lnTo>
                      <a:pt x="1" y="22"/>
                    </a:lnTo>
                    <a:cubicBezTo>
                      <a:pt x="24" y="22"/>
                      <a:pt x="40" y="14"/>
                      <a:pt x="49" y="0"/>
                    </a:cubicBez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Freeform 111">
                <a:extLst>
                  <a:ext uri="{FF2B5EF4-FFF2-40B4-BE49-F238E27FC236}">
                    <a16:creationId xmlns="" xmlns:a16="http://schemas.microsoft.com/office/drawing/2014/main" id="{01355B3A-B6F8-4316-A762-487BAAE0E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2063" y="890588"/>
                <a:ext cx="36513" cy="134938"/>
              </a:xfrm>
              <a:custGeom>
                <a:avLst/>
                <a:gdLst>
                  <a:gd name="T0" fmla="*/ 0 w 48"/>
                  <a:gd name="T1" fmla="*/ 0 h 180"/>
                  <a:gd name="T2" fmla="*/ 48 w 48"/>
                  <a:gd name="T3" fmla="*/ 22 h 180"/>
                  <a:gd name="T4" fmla="*/ 48 w 48"/>
                  <a:gd name="T5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80">
                    <a:moveTo>
                      <a:pt x="0" y="0"/>
                    </a:moveTo>
                    <a:cubicBezTo>
                      <a:pt x="8" y="14"/>
                      <a:pt x="25" y="22"/>
                      <a:pt x="48" y="22"/>
                    </a:cubicBezTo>
                    <a:lnTo>
                      <a:pt x="48" y="180"/>
                    </a:ln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Oval 112">
                <a:extLst>
                  <a:ext uri="{FF2B5EF4-FFF2-40B4-BE49-F238E27FC236}">
                    <a16:creationId xmlns="" xmlns:a16="http://schemas.microsoft.com/office/drawing/2014/main" id="{D0A1C5CF-A3C8-4A5A-8B3B-A54843687C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9300" y="457200"/>
                <a:ext cx="141288" cy="141288"/>
              </a:xfrm>
              <a:prstGeom prst="ellipse">
                <a:avLst/>
              </a:pr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113">
                <a:extLst>
                  <a:ext uri="{FF2B5EF4-FFF2-40B4-BE49-F238E27FC236}">
                    <a16:creationId xmlns="" xmlns:a16="http://schemas.microsoft.com/office/drawing/2014/main" id="{E27C6629-EE60-4F61-BE12-DD35CDD2C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5238" y="644525"/>
                <a:ext cx="242888" cy="381000"/>
              </a:xfrm>
              <a:custGeom>
                <a:avLst/>
                <a:gdLst>
                  <a:gd name="T0" fmla="*/ 268 w 324"/>
                  <a:gd name="T1" fmla="*/ 508 h 508"/>
                  <a:gd name="T2" fmla="*/ 268 w 324"/>
                  <a:gd name="T3" fmla="*/ 350 h 508"/>
                  <a:gd name="T4" fmla="*/ 324 w 324"/>
                  <a:gd name="T5" fmla="*/ 301 h 508"/>
                  <a:gd name="T6" fmla="*/ 324 w 324"/>
                  <a:gd name="T7" fmla="*/ 129 h 508"/>
                  <a:gd name="T8" fmla="*/ 213 w 324"/>
                  <a:gd name="T9" fmla="*/ 0 h 508"/>
                  <a:gd name="T10" fmla="*/ 157 w 324"/>
                  <a:gd name="T11" fmla="*/ 45 h 508"/>
                  <a:gd name="T12" fmla="*/ 100 w 324"/>
                  <a:gd name="T13" fmla="*/ 0 h 508"/>
                  <a:gd name="T14" fmla="*/ 0 w 324"/>
                  <a:gd name="T15" fmla="*/ 63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4" h="508">
                    <a:moveTo>
                      <a:pt x="268" y="508"/>
                    </a:moveTo>
                    <a:lnTo>
                      <a:pt x="268" y="350"/>
                    </a:lnTo>
                    <a:cubicBezTo>
                      <a:pt x="304" y="350"/>
                      <a:pt x="324" y="328"/>
                      <a:pt x="324" y="301"/>
                    </a:cubicBezTo>
                    <a:lnTo>
                      <a:pt x="324" y="129"/>
                    </a:lnTo>
                    <a:cubicBezTo>
                      <a:pt x="324" y="41"/>
                      <a:pt x="286" y="5"/>
                      <a:pt x="213" y="0"/>
                    </a:cubicBezTo>
                    <a:lnTo>
                      <a:pt x="157" y="45"/>
                    </a:lnTo>
                    <a:lnTo>
                      <a:pt x="100" y="0"/>
                    </a:lnTo>
                    <a:cubicBezTo>
                      <a:pt x="49" y="3"/>
                      <a:pt x="15" y="22"/>
                      <a:pt x="0" y="63"/>
                    </a:cubicBez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Oval 114">
                <a:extLst>
                  <a:ext uri="{FF2B5EF4-FFF2-40B4-BE49-F238E27FC236}">
                    <a16:creationId xmlns="" xmlns:a16="http://schemas.microsoft.com/office/drawing/2014/main" id="{77A4CF3C-4CC2-4FC4-968E-117FE04952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61275" y="457200"/>
                <a:ext cx="141288" cy="141288"/>
              </a:xfrm>
              <a:prstGeom prst="ellipse">
                <a:avLst/>
              </a:pr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70" name="Search2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2E72C913-0061-4B04-B09B-54B07F5BF226}"/>
              </a:ext>
            </a:extLst>
          </p:cNvPr>
          <p:cNvGrpSpPr>
            <a:grpSpLocks noChangeAspect="1"/>
          </p:cNvGrpSpPr>
          <p:nvPr/>
        </p:nvGrpSpPr>
        <p:grpSpPr>
          <a:xfrm>
            <a:off x="830711" y="2241145"/>
            <a:ext cx="565413" cy="554216"/>
            <a:chOff x="4289425" y="5575301"/>
            <a:chExt cx="641350" cy="628650"/>
          </a:xfrm>
          <a:solidFill>
            <a:schemeClr val="bg1"/>
          </a:solidFill>
        </p:grpSpPr>
        <p:sp>
          <p:nvSpPr>
            <p:cNvPr id="71" name="Freeform 156">
              <a:extLst>
                <a:ext uri="{FF2B5EF4-FFF2-40B4-BE49-F238E27FC236}">
                  <a16:creationId xmlns="" xmlns:a16="http://schemas.microsoft.com/office/drawing/2014/main" id="{48C9CCDC-2799-4308-8130-65DA518F4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9425" y="5734051"/>
              <a:ext cx="473075" cy="442913"/>
            </a:xfrm>
            <a:custGeom>
              <a:avLst/>
              <a:gdLst>
                <a:gd name="T0" fmla="*/ 763 w 791"/>
                <a:gd name="T1" fmla="*/ 644 h 740"/>
                <a:gd name="T2" fmla="*/ 341 w 791"/>
                <a:gd name="T3" fmla="*/ 664 h 740"/>
                <a:gd name="T4" fmla="*/ 104 w 791"/>
                <a:gd name="T5" fmla="*/ 408 h 740"/>
                <a:gd name="T6" fmla="*/ 117 w 791"/>
                <a:gd name="T7" fmla="*/ 60 h 740"/>
                <a:gd name="T8" fmla="*/ 139 w 791"/>
                <a:gd name="T9" fmla="*/ 126 h 740"/>
                <a:gd name="T10" fmla="*/ 155 w 791"/>
                <a:gd name="T11" fmla="*/ 138 h 740"/>
                <a:gd name="T12" fmla="*/ 160 w 791"/>
                <a:gd name="T13" fmla="*/ 137 h 740"/>
                <a:gd name="T14" fmla="*/ 170 w 791"/>
                <a:gd name="T15" fmla="*/ 116 h 740"/>
                <a:gd name="T16" fmla="*/ 136 w 791"/>
                <a:gd name="T17" fmla="*/ 12 h 740"/>
                <a:gd name="T18" fmla="*/ 135 w 791"/>
                <a:gd name="T19" fmla="*/ 11 h 740"/>
                <a:gd name="T20" fmla="*/ 135 w 791"/>
                <a:gd name="T21" fmla="*/ 11 h 740"/>
                <a:gd name="T22" fmla="*/ 134 w 791"/>
                <a:gd name="T23" fmla="*/ 9 h 740"/>
                <a:gd name="T24" fmla="*/ 133 w 791"/>
                <a:gd name="T25" fmla="*/ 7 h 740"/>
                <a:gd name="T26" fmla="*/ 132 w 791"/>
                <a:gd name="T27" fmla="*/ 6 h 740"/>
                <a:gd name="T28" fmla="*/ 129 w 791"/>
                <a:gd name="T29" fmla="*/ 4 h 740"/>
                <a:gd name="T30" fmla="*/ 129 w 791"/>
                <a:gd name="T31" fmla="*/ 3 h 740"/>
                <a:gd name="T32" fmla="*/ 128 w 791"/>
                <a:gd name="T33" fmla="*/ 3 h 740"/>
                <a:gd name="T34" fmla="*/ 128 w 791"/>
                <a:gd name="T35" fmla="*/ 3 h 740"/>
                <a:gd name="T36" fmla="*/ 127 w 791"/>
                <a:gd name="T37" fmla="*/ 2 h 740"/>
                <a:gd name="T38" fmla="*/ 124 w 791"/>
                <a:gd name="T39" fmla="*/ 1 h 740"/>
                <a:gd name="T40" fmla="*/ 120 w 791"/>
                <a:gd name="T41" fmla="*/ 0 h 740"/>
                <a:gd name="T42" fmla="*/ 117 w 791"/>
                <a:gd name="T43" fmla="*/ 1 h 740"/>
                <a:gd name="T44" fmla="*/ 116 w 791"/>
                <a:gd name="T45" fmla="*/ 1 h 740"/>
                <a:gd name="T46" fmla="*/ 115 w 791"/>
                <a:gd name="T47" fmla="*/ 1 h 740"/>
                <a:gd name="T48" fmla="*/ 114 w 791"/>
                <a:gd name="T49" fmla="*/ 1 h 740"/>
                <a:gd name="T50" fmla="*/ 114 w 791"/>
                <a:gd name="T51" fmla="*/ 1 h 740"/>
                <a:gd name="T52" fmla="*/ 113 w 791"/>
                <a:gd name="T53" fmla="*/ 2 h 740"/>
                <a:gd name="T54" fmla="*/ 13 w 791"/>
                <a:gd name="T55" fmla="*/ 43 h 740"/>
                <a:gd name="T56" fmla="*/ 4 w 791"/>
                <a:gd name="T57" fmla="*/ 65 h 740"/>
                <a:gd name="T58" fmla="*/ 19 w 791"/>
                <a:gd name="T59" fmla="*/ 75 h 740"/>
                <a:gd name="T60" fmla="*/ 25 w 791"/>
                <a:gd name="T61" fmla="*/ 74 h 740"/>
                <a:gd name="T62" fmla="*/ 85 w 791"/>
                <a:gd name="T63" fmla="*/ 49 h 740"/>
                <a:gd name="T64" fmla="*/ 72 w 791"/>
                <a:gd name="T65" fmla="*/ 419 h 740"/>
                <a:gd name="T66" fmla="*/ 327 w 791"/>
                <a:gd name="T67" fmla="*/ 695 h 740"/>
                <a:gd name="T68" fmla="*/ 532 w 791"/>
                <a:gd name="T69" fmla="*/ 740 h 740"/>
                <a:gd name="T70" fmla="*/ 780 w 791"/>
                <a:gd name="T71" fmla="*/ 672 h 740"/>
                <a:gd name="T72" fmla="*/ 786 w 791"/>
                <a:gd name="T73" fmla="*/ 650 h 740"/>
                <a:gd name="T74" fmla="*/ 763 w 791"/>
                <a:gd name="T75" fmla="*/ 644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91" h="740">
                  <a:moveTo>
                    <a:pt x="763" y="644"/>
                  </a:moveTo>
                  <a:cubicBezTo>
                    <a:pt x="634" y="719"/>
                    <a:pt x="477" y="727"/>
                    <a:pt x="341" y="664"/>
                  </a:cubicBezTo>
                  <a:cubicBezTo>
                    <a:pt x="230" y="613"/>
                    <a:pt x="146" y="522"/>
                    <a:pt x="104" y="408"/>
                  </a:cubicBezTo>
                  <a:cubicBezTo>
                    <a:pt x="62" y="294"/>
                    <a:pt x="66" y="170"/>
                    <a:pt x="117" y="60"/>
                  </a:cubicBezTo>
                  <a:lnTo>
                    <a:pt x="139" y="126"/>
                  </a:lnTo>
                  <a:cubicBezTo>
                    <a:pt x="141" y="133"/>
                    <a:pt x="148" y="138"/>
                    <a:pt x="155" y="138"/>
                  </a:cubicBezTo>
                  <a:cubicBezTo>
                    <a:pt x="156" y="138"/>
                    <a:pt x="158" y="137"/>
                    <a:pt x="160" y="137"/>
                  </a:cubicBezTo>
                  <a:cubicBezTo>
                    <a:pt x="169" y="134"/>
                    <a:pt x="173" y="124"/>
                    <a:pt x="170" y="116"/>
                  </a:cubicBezTo>
                  <a:lnTo>
                    <a:pt x="136" y="12"/>
                  </a:lnTo>
                  <a:cubicBezTo>
                    <a:pt x="136" y="11"/>
                    <a:pt x="135" y="11"/>
                    <a:pt x="135" y="11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5" y="10"/>
                    <a:pt x="134" y="10"/>
                    <a:pt x="134" y="9"/>
                  </a:cubicBezTo>
                  <a:cubicBezTo>
                    <a:pt x="134" y="8"/>
                    <a:pt x="133" y="7"/>
                    <a:pt x="133" y="7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31" y="5"/>
                    <a:pt x="130" y="4"/>
                    <a:pt x="129" y="4"/>
                  </a:cubicBezTo>
                  <a:cubicBezTo>
                    <a:pt x="129" y="4"/>
                    <a:pt x="129" y="4"/>
                    <a:pt x="129" y="3"/>
                  </a:cubicBezTo>
                  <a:cubicBezTo>
                    <a:pt x="129" y="3"/>
                    <a:pt x="128" y="3"/>
                    <a:pt x="128" y="3"/>
                  </a:cubicBezTo>
                  <a:cubicBezTo>
                    <a:pt x="128" y="3"/>
                    <a:pt x="128" y="3"/>
                    <a:pt x="128" y="3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6" y="1"/>
                    <a:pt x="125" y="1"/>
                    <a:pt x="124" y="1"/>
                  </a:cubicBezTo>
                  <a:cubicBezTo>
                    <a:pt x="123" y="1"/>
                    <a:pt x="122" y="0"/>
                    <a:pt x="120" y="0"/>
                  </a:cubicBezTo>
                  <a:cubicBezTo>
                    <a:pt x="119" y="0"/>
                    <a:pt x="118" y="1"/>
                    <a:pt x="117" y="1"/>
                  </a:cubicBezTo>
                  <a:cubicBezTo>
                    <a:pt x="117" y="1"/>
                    <a:pt x="116" y="1"/>
                    <a:pt x="116" y="1"/>
                  </a:cubicBezTo>
                  <a:cubicBezTo>
                    <a:pt x="116" y="1"/>
                    <a:pt x="116" y="1"/>
                    <a:pt x="115" y="1"/>
                  </a:cubicBezTo>
                  <a:cubicBezTo>
                    <a:pt x="115" y="1"/>
                    <a:pt x="115" y="1"/>
                    <a:pt x="114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4" y="1"/>
                    <a:pt x="114" y="1"/>
                    <a:pt x="113" y="2"/>
                  </a:cubicBezTo>
                  <a:lnTo>
                    <a:pt x="13" y="43"/>
                  </a:lnTo>
                  <a:cubicBezTo>
                    <a:pt x="4" y="47"/>
                    <a:pt x="0" y="56"/>
                    <a:pt x="4" y="65"/>
                  </a:cubicBezTo>
                  <a:cubicBezTo>
                    <a:pt x="6" y="71"/>
                    <a:pt x="12" y="75"/>
                    <a:pt x="19" y="75"/>
                  </a:cubicBezTo>
                  <a:cubicBezTo>
                    <a:pt x="21" y="75"/>
                    <a:pt x="23" y="75"/>
                    <a:pt x="25" y="74"/>
                  </a:cubicBezTo>
                  <a:lnTo>
                    <a:pt x="85" y="49"/>
                  </a:lnTo>
                  <a:cubicBezTo>
                    <a:pt x="32" y="167"/>
                    <a:pt x="28" y="298"/>
                    <a:pt x="72" y="419"/>
                  </a:cubicBezTo>
                  <a:cubicBezTo>
                    <a:pt x="118" y="542"/>
                    <a:pt x="208" y="640"/>
                    <a:pt x="327" y="695"/>
                  </a:cubicBezTo>
                  <a:cubicBezTo>
                    <a:pt x="392" y="725"/>
                    <a:pt x="462" y="740"/>
                    <a:pt x="532" y="740"/>
                  </a:cubicBezTo>
                  <a:cubicBezTo>
                    <a:pt x="618" y="740"/>
                    <a:pt x="704" y="717"/>
                    <a:pt x="780" y="672"/>
                  </a:cubicBezTo>
                  <a:cubicBezTo>
                    <a:pt x="788" y="668"/>
                    <a:pt x="791" y="658"/>
                    <a:pt x="786" y="650"/>
                  </a:cubicBezTo>
                  <a:cubicBezTo>
                    <a:pt x="781" y="642"/>
                    <a:pt x="771" y="639"/>
                    <a:pt x="763" y="644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 157">
              <a:extLst>
                <a:ext uri="{FF2B5EF4-FFF2-40B4-BE49-F238E27FC236}">
                  <a16:creationId xmlns="" xmlns:a16="http://schemas.microsoft.com/office/drawing/2014/main" id="{033A29B8-A508-43F2-9376-019150634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575301"/>
              <a:ext cx="473075" cy="457200"/>
            </a:xfrm>
            <a:custGeom>
              <a:avLst/>
              <a:gdLst>
                <a:gd name="T0" fmla="*/ 27 w 790"/>
                <a:gd name="T1" fmla="*/ 118 h 763"/>
                <a:gd name="T2" fmla="*/ 449 w 790"/>
                <a:gd name="T3" fmla="*/ 98 h 763"/>
                <a:gd name="T4" fmla="*/ 687 w 790"/>
                <a:gd name="T5" fmla="*/ 354 h 763"/>
                <a:gd name="T6" fmla="*/ 673 w 790"/>
                <a:gd name="T7" fmla="*/ 703 h 763"/>
                <a:gd name="T8" fmla="*/ 652 w 790"/>
                <a:gd name="T9" fmla="*/ 637 h 763"/>
                <a:gd name="T10" fmla="*/ 631 w 790"/>
                <a:gd name="T11" fmla="*/ 626 h 763"/>
                <a:gd name="T12" fmla="*/ 620 w 790"/>
                <a:gd name="T13" fmla="*/ 648 h 763"/>
                <a:gd name="T14" fmla="*/ 654 w 790"/>
                <a:gd name="T15" fmla="*/ 751 h 763"/>
                <a:gd name="T16" fmla="*/ 654 w 790"/>
                <a:gd name="T17" fmla="*/ 751 h 763"/>
                <a:gd name="T18" fmla="*/ 654 w 790"/>
                <a:gd name="T19" fmla="*/ 752 h 763"/>
                <a:gd name="T20" fmla="*/ 655 w 790"/>
                <a:gd name="T21" fmla="*/ 753 h 763"/>
                <a:gd name="T22" fmla="*/ 657 w 790"/>
                <a:gd name="T23" fmla="*/ 757 h 763"/>
                <a:gd name="T24" fmla="*/ 660 w 790"/>
                <a:gd name="T25" fmla="*/ 759 h 763"/>
                <a:gd name="T26" fmla="*/ 661 w 790"/>
                <a:gd name="T27" fmla="*/ 761 h 763"/>
                <a:gd name="T28" fmla="*/ 662 w 790"/>
                <a:gd name="T29" fmla="*/ 761 h 763"/>
                <a:gd name="T30" fmla="*/ 663 w 790"/>
                <a:gd name="T31" fmla="*/ 762 h 763"/>
                <a:gd name="T32" fmla="*/ 664 w 790"/>
                <a:gd name="T33" fmla="*/ 762 h 763"/>
                <a:gd name="T34" fmla="*/ 668 w 790"/>
                <a:gd name="T35" fmla="*/ 763 h 763"/>
                <a:gd name="T36" fmla="*/ 670 w 790"/>
                <a:gd name="T37" fmla="*/ 763 h 763"/>
                <a:gd name="T38" fmla="*/ 673 w 790"/>
                <a:gd name="T39" fmla="*/ 763 h 763"/>
                <a:gd name="T40" fmla="*/ 675 w 790"/>
                <a:gd name="T41" fmla="*/ 762 h 763"/>
                <a:gd name="T42" fmla="*/ 676 w 790"/>
                <a:gd name="T43" fmla="*/ 762 h 763"/>
                <a:gd name="T44" fmla="*/ 778 w 790"/>
                <a:gd name="T45" fmla="*/ 720 h 763"/>
                <a:gd name="T46" fmla="*/ 787 w 790"/>
                <a:gd name="T47" fmla="*/ 698 h 763"/>
                <a:gd name="T48" fmla="*/ 765 w 790"/>
                <a:gd name="T49" fmla="*/ 689 h 763"/>
                <a:gd name="T50" fmla="*/ 705 w 790"/>
                <a:gd name="T51" fmla="*/ 714 h 763"/>
                <a:gd name="T52" fmla="*/ 718 w 790"/>
                <a:gd name="T53" fmla="*/ 343 h 763"/>
                <a:gd name="T54" fmla="*/ 463 w 790"/>
                <a:gd name="T55" fmla="*/ 67 h 763"/>
                <a:gd name="T56" fmla="*/ 11 w 790"/>
                <a:gd name="T57" fmla="*/ 90 h 763"/>
                <a:gd name="T58" fmla="*/ 5 w 790"/>
                <a:gd name="T59" fmla="*/ 112 h 763"/>
                <a:gd name="T60" fmla="*/ 27 w 790"/>
                <a:gd name="T61" fmla="*/ 118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0" h="763">
                  <a:moveTo>
                    <a:pt x="27" y="118"/>
                  </a:moveTo>
                  <a:cubicBezTo>
                    <a:pt x="156" y="43"/>
                    <a:pt x="314" y="35"/>
                    <a:pt x="449" y="98"/>
                  </a:cubicBezTo>
                  <a:cubicBezTo>
                    <a:pt x="560" y="149"/>
                    <a:pt x="645" y="240"/>
                    <a:pt x="687" y="354"/>
                  </a:cubicBezTo>
                  <a:cubicBezTo>
                    <a:pt x="729" y="469"/>
                    <a:pt x="724" y="593"/>
                    <a:pt x="673" y="703"/>
                  </a:cubicBezTo>
                  <a:lnTo>
                    <a:pt x="652" y="637"/>
                  </a:lnTo>
                  <a:cubicBezTo>
                    <a:pt x="649" y="628"/>
                    <a:pt x="639" y="624"/>
                    <a:pt x="631" y="626"/>
                  </a:cubicBezTo>
                  <a:cubicBezTo>
                    <a:pt x="622" y="629"/>
                    <a:pt x="617" y="639"/>
                    <a:pt x="620" y="648"/>
                  </a:cubicBezTo>
                  <a:lnTo>
                    <a:pt x="654" y="751"/>
                  </a:lnTo>
                  <a:cubicBezTo>
                    <a:pt x="654" y="751"/>
                    <a:pt x="654" y="751"/>
                    <a:pt x="654" y="751"/>
                  </a:cubicBezTo>
                  <a:lnTo>
                    <a:pt x="654" y="752"/>
                  </a:lnTo>
                  <a:cubicBezTo>
                    <a:pt x="654" y="752"/>
                    <a:pt x="655" y="753"/>
                    <a:pt x="655" y="753"/>
                  </a:cubicBezTo>
                  <a:cubicBezTo>
                    <a:pt x="656" y="755"/>
                    <a:pt x="656" y="756"/>
                    <a:pt x="657" y="757"/>
                  </a:cubicBezTo>
                  <a:cubicBezTo>
                    <a:pt x="658" y="758"/>
                    <a:pt x="659" y="759"/>
                    <a:pt x="660" y="759"/>
                  </a:cubicBezTo>
                  <a:cubicBezTo>
                    <a:pt x="660" y="760"/>
                    <a:pt x="661" y="760"/>
                    <a:pt x="661" y="761"/>
                  </a:cubicBezTo>
                  <a:cubicBezTo>
                    <a:pt x="662" y="761"/>
                    <a:pt x="662" y="761"/>
                    <a:pt x="662" y="761"/>
                  </a:cubicBezTo>
                  <a:cubicBezTo>
                    <a:pt x="662" y="761"/>
                    <a:pt x="663" y="762"/>
                    <a:pt x="663" y="762"/>
                  </a:cubicBezTo>
                  <a:cubicBezTo>
                    <a:pt x="663" y="762"/>
                    <a:pt x="664" y="762"/>
                    <a:pt x="664" y="762"/>
                  </a:cubicBezTo>
                  <a:cubicBezTo>
                    <a:pt x="666" y="762"/>
                    <a:pt x="667" y="763"/>
                    <a:pt x="668" y="763"/>
                  </a:cubicBezTo>
                  <a:cubicBezTo>
                    <a:pt x="669" y="763"/>
                    <a:pt x="669" y="763"/>
                    <a:pt x="670" y="763"/>
                  </a:cubicBezTo>
                  <a:cubicBezTo>
                    <a:pt x="671" y="763"/>
                    <a:pt x="672" y="763"/>
                    <a:pt x="673" y="763"/>
                  </a:cubicBezTo>
                  <a:cubicBezTo>
                    <a:pt x="673" y="763"/>
                    <a:pt x="674" y="763"/>
                    <a:pt x="675" y="762"/>
                  </a:cubicBezTo>
                  <a:cubicBezTo>
                    <a:pt x="675" y="762"/>
                    <a:pt x="676" y="762"/>
                    <a:pt x="676" y="762"/>
                  </a:cubicBezTo>
                  <a:lnTo>
                    <a:pt x="778" y="720"/>
                  </a:lnTo>
                  <a:cubicBezTo>
                    <a:pt x="786" y="717"/>
                    <a:pt x="790" y="707"/>
                    <a:pt x="787" y="698"/>
                  </a:cubicBezTo>
                  <a:cubicBezTo>
                    <a:pt x="783" y="690"/>
                    <a:pt x="774" y="686"/>
                    <a:pt x="765" y="689"/>
                  </a:cubicBezTo>
                  <a:lnTo>
                    <a:pt x="705" y="714"/>
                  </a:lnTo>
                  <a:cubicBezTo>
                    <a:pt x="758" y="596"/>
                    <a:pt x="763" y="464"/>
                    <a:pt x="718" y="343"/>
                  </a:cubicBezTo>
                  <a:cubicBezTo>
                    <a:pt x="673" y="220"/>
                    <a:pt x="582" y="122"/>
                    <a:pt x="463" y="67"/>
                  </a:cubicBezTo>
                  <a:cubicBezTo>
                    <a:pt x="318" y="0"/>
                    <a:pt x="149" y="9"/>
                    <a:pt x="11" y="90"/>
                  </a:cubicBezTo>
                  <a:cubicBezTo>
                    <a:pt x="3" y="94"/>
                    <a:pt x="0" y="104"/>
                    <a:pt x="5" y="112"/>
                  </a:cubicBezTo>
                  <a:cubicBezTo>
                    <a:pt x="9" y="120"/>
                    <a:pt x="20" y="123"/>
                    <a:pt x="27" y="11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="" xmlns:a16="http://schemas.microsoft.com/office/drawing/2014/main" id="{7B83FCFE-96A6-4AF3-9DE2-4F05EFBFF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650" y="5711826"/>
              <a:ext cx="492125" cy="492125"/>
            </a:xfrm>
            <a:custGeom>
              <a:avLst/>
              <a:gdLst>
                <a:gd name="T0" fmla="*/ 783 w 826"/>
                <a:gd name="T1" fmla="*/ 771 h 821"/>
                <a:gd name="T2" fmla="*/ 771 w 826"/>
                <a:gd name="T3" fmla="*/ 783 h 821"/>
                <a:gd name="T4" fmla="*/ 750 w 826"/>
                <a:gd name="T5" fmla="*/ 783 h 821"/>
                <a:gd name="T6" fmla="*/ 567 w 826"/>
                <a:gd name="T7" fmla="*/ 601 h 821"/>
                <a:gd name="T8" fmla="*/ 567 w 826"/>
                <a:gd name="T9" fmla="*/ 580 h 821"/>
                <a:gd name="T10" fmla="*/ 580 w 826"/>
                <a:gd name="T11" fmla="*/ 568 h 821"/>
                <a:gd name="T12" fmla="*/ 591 w 826"/>
                <a:gd name="T13" fmla="*/ 563 h 821"/>
                <a:gd name="T14" fmla="*/ 591 w 826"/>
                <a:gd name="T15" fmla="*/ 563 h 821"/>
                <a:gd name="T16" fmla="*/ 601 w 826"/>
                <a:gd name="T17" fmla="*/ 568 h 821"/>
                <a:gd name="T18" fmla="*/ 783 w 826"/>
                <a:gd name="T19" fmla="*/ 750 h 821"/>
                <a:gd name="T20" fmla="*/ 783 w 826"/>
                <a:gd name="T21" fmla="*/ 771 h 821"/>
                <a:gd name="T22" fmla="*/ 284 w 826"/>
                <a:gd name="T23" fmla="*/ 536 h 821"/>
                <a:gd name="T24" fmla="*/ 284 w 826"/>
                <a:gd name="T25" fmla="*/ 536 h 821"/>
                <a:gd name="T26" fmla="*/ 107 w 826"/>
                <a:gd name="T27" fmla="*/ 462 h 821"/>
                <a:gd name="T28" fmla="*/ 33 w 826"/>
                <a:gd name="T29" fmla="*/ 285 h 821"/>
                <a:gd name="T30" fmla="*/ 284 w 826"/>
                <a:gd name="T31" fmla="*/ 34 h 821"/>
                <a:gd name="T32" fmla="*/ 284 w 826"/>
                <a:gd name="T33" fmla="*/ 34 h 821"/>
                <a:gd name="T34" fmla="*/ 535 w 826"/>
                <a:gd name="T35" fmla="*/ 285 h 821"/>
                <a:gd name="T36" fmla="*/ 463 w 826"/>
                <a:gd name="T37" fmla="*/ 461 h 821"/>
                <a:gd name="T38" fmla="*/ 462 w 826"/>
                <a:gd name="T39" fmla="*/ 462 h 821"/>
                <a:gd name="T40" fmla="*/ 461 w 826"/>
                <a:gd name="T41" fmla="*/ 463 h 821"/>
                <a:gd name="T42" fmla="*/ 284 w 826"/>
                <a:gd name="T43" fmla="*/ 536 h 821"/>
                <a:gd name="T44" fmla="*/ 807 w 826"/>
                <a:gd name="T45" fmla="*/ 726 h 821"/>
                <a:gd name="T46" fmla="*/ 625 w 826"/>
                <a:gd name="T47" fmla="*/ 544 h 821"/>
                <a:gd name="T48" fmla="*/ 591 w 826"/>
                <a:gd name="T49" fmla="*/ 530 h 821"/>
                <a:gd name="T50" fmla="*/ 591 w 826"/>
                <a:gd name="T51" fmla="*/ 530 h 821"/>
                <a:gd name="T52" fmla="*/ 563 w 826"/>
                <a:gd name="T53" fmla="*/ 539 h 821"/>
                <a:gd name="T54" fmla="*/ 497 w 826"/>
                <a:gd name="T55" fmla="*/ 473 h 821"/>
                <a:gd name="T56" fmla="*/ 569 w 826"/>
                <a:gd name="T57" fmla="*/ 285 h 821"/>
                <a:gd name="T58" fmla="*/ 284 w 826"/>
                <a:gd name="T59" fmla="*/ 0 h 821"/>
                <a:gd name="T60" fmla="*/ 284 w 826"/>
                <a:gd name="T61" fmla="*/ 0 h 821"/>
                <a:gd name="T62" fmla="*/ 0 w 826"/>
                <a:gd name="T63" fmla="*/ 285 h 821"/>
                <a:gd name="T64" fmla="*/ 83 w 826"/>
                <a:gd name="T65" fmla="*/ 486 h 821"/>
                <a:gd name="T66" fmla="*/ 284 w 826"/>
                <a:gd name="T67" fmla="*/ 569 h 821"/>
                <a:gd name="T68" fmla="*/ 284 w 826"/>
                <a:gd name="T69" fmla="*/ 569 h 821"/>
                <a:gd name="T70" fmla="*/ 473 w 826"/>
                <a:gd name="T71" fmla="*/ 497 h 821"/>
                <a:gd name="T72" fmla="*/ 539 w 826"/>
                <a:gd name="T73" fmla="*/ 563 h 821"/>
                <a:gd name="T74" fmla="*/ 544 w 826"/>
                <a:gd name="T75" fmla="*/ 625 h 821"/>
                <a:gd name="T76" fmla="*/ 726 w 826"/>
                <a:gd name="T77" fmla="*/ 807 h 821"/>
                <a:gd name="T78" fmla="*/ 760 w 826"/>
                <a:gd name="T79" fmla="*/ 821 h 821"/>
                <a:gd name="T80" fmla="*/ 794 w 826"/>
                <a:gd name="T81" fmla="*/ 807 h 821"/>
                <a:gd name="T82" fmla="*/ 807 w 826"/>
                <a:gd name="T83" fmla="*/ 794 h 821"/>
                <a:gd name="T84" fmla="*/ 807 w 826"/>
                <a:gd name="T85" fmla="*/ 726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26" h="821">
                  <a:moveTo>
                    <a:pt x="783" y="771"/>
                  </a:moveTo>
                  <a:lnTo>
                    <a:pt x="771" y="783"/>
                  </a:lnTo>
                  <a:cubicBezTo>
                    <a:pt x="765" y="789"/>
                    <a:pt x="755" y="789"/>
                    <a:pt x="750" y="783"/>
                  </a:cubicBezTo>
                  <a:lnTo>
                    <a:pt x="567" y="601"/>
                  </a:lnTo>
                  <a:cubicBezTo>
                    <a:pt x="562" y="596"/>
                    <a:pt x="562" y="586"/>
                    <a:pt x="567" y="580"/>
                  </a:cubicBezTo>
                  <a:lnTo>
                    <a:pt x="580" y="568"/>
                  </a:lnTo>
                  <a:cubicBezTo>
                    <a:pt x="583" y="565"/>
                    <a:pt x="587" y="563"/>
                    <a:pt x="591" y="563"/>
                  </a:cubicBezTo>
                  <a:lnTo>
                    <a:pt x="591" y="563"/>
                  </a:lnTo>
                  <a:cubicBezTo>
                    <a:pt x="595" y="563"/>
                    <a:pt x="598" y="565"/>
                    <a:pt x="601" y="568"/>
                  </a:cubicBezTo>
                  <a:lnTo>
                    <a:pt x="783" y="750"/>
                  </a:lnTo>
                  <a:cubicBezTo>
                    <a:pt x="789" y="755"/>
                    <a:pt x="789" y="765"/>
                    <a:pt x="783" y="771"/>
                  </a:cubicBezTo>
                  <a:close/>
                  <a:moveTo>
                    <a:pt x="284" y="536"/>
                  </a:moveTo>
                  <a:lnTo>
                    <a:pt x="284" y="536"/>
                  </a:lnTo>
                  <a:cubicBezTo>
                    <a:pt x="217" y="536"/>
                    <a:pt x="154" y="510"/>
                    <a:pt x="107" y="462"/>
                  </a:cubicBezTo>
                  <a:cubicBezTo>
                    <a:pt x="59" y="415"/>
                    <a:pt x="33" y="352"/>
                    <a:pt x="33" y="285"/>
                  </a:cubicBezTo>
                  <a:cubicBezTo>
                    <a:pt x="33" y="146"/>
                    <a:pt x="146" y="34"/>
                    <a:pt x="284" y="34"/>
                  </a:cubicBezTo>
                  <a:lnTo>
                    <a:pt x="284" y="34"/>
                  </a:lnTo>
                  <a:cubicBezTo>
                    <a:pt x="423" y="34"/>
                    <a:pt x="535" y="146"/>
                    <a:pt x="535" y="285"/>
                  </a:cubicBezTo>
                  <a:cubicBezTo>
                    <a:pt x="535" y="351"/>
                    <a:pt x="510" y="414"/>
                    <a:pt x="463" y="461"/>
                  </a:cubicBezTo>
                  <a:cubicBezTo>
                    <a:pt x="463" y="462"/>
                    <a:pt x="462" y="462"/>
                    <a:pt x="462" y="462"/>
                  </a:cubicBezTo>
                  <a:cubicBezTo>
                    <a:pt x="461" y="462"/>
                    <a:pt x="461" y="463"/>
                    <a:pt x="461" y="463"/>
                  </a:cubicBezTo>
                  <a:cubicBezTo>
                    <a:pt x="414" y="510"/>
                    <a:pt x="351" y="536"/>
                    <a:pt x="284" y="536"/>
                  </a:cubicBezTo>
                  <a:close/>
                  <a:moveTo>
                    <a:pt x="807" y="726"/>
                  </a:moveTo>
                  <a:lnTo>
                    <a:pt x="625" y="544"/>
                  </a:lnTo>
                  <a:cubicBezTo>
                    <a:pt x="616" y="535"/>
                    <a:pt x="604" y="530"/>
                    <a:pt x="591" y="530"/>
                  </a:cubicBezTo>
                  <a:lnTo>
                    <a:pt x="591" y="530"/>
                  </a:lnTo>
                  <a:cubicBezTo>
                    <a:pt x="580" y="530"/>
                    <a:pt x="571" y="533"/>
                    <a:pt x="563" y="539"/>
                  </a:cubicBezTo>
                  <a:lnTo>
                    <a:pt x="497" y="473"/>
                  </a:lnTo>
                  <a:cubicBezTo>
                    <a:pt x="543" y="421"/>
                    <a:pt x="569" y="355"/>
                    <a:pt x="569" y="285"/>
                  </a:cubicBezTo>
                  <a:cubicBezTo>
                    <a:pt x="569" y="128"/>
                    <a:pt x="441" y="0"/>
                    <a:pt x="284" y="0"/>
                  </a:cubicBezTo>
                  <a:lnTo>
                    <a:pt x="284" y="0"/>
                  </a:lnTo>
                  <a:cubicBezTo>
                    <a:pt x="128" y="0"/>
                    <a:pt x="0" y="128"/>
                    <a:pt x="0" y="285"/>
                  </a:cubicBezTo>
                  <a:cubicBezTo>
                    <a:pt x="0" y="361"/>
                    <a:pt x="30" y="432"/>
                    <a:pt x="83" y="486"/>
                  </a:cubicBezTo>
                  <a:cubicBezTo>
                    <a:pt x="137" y="540"/>
                    <a:pt x="208" y="569"/>
                    <a:pt x="284" y="569"/>
                  </a:cubicBezTo>
                  <a:lnTo>
                    <a:pt x="284" y="569"/>
                  </a:lnTo>
                  <a:cubicBezTo>
                    <a:pt x="355" y="569"/>
                    <a:pt x="421" y="543"/>
                    <a:pt x="473" y="497"/>
                  </a:cubicBezTo>
                  <a:lnTo>
                    <a:pt x="539" y="563"/>
                  </a:lnTo>
                  <a:cubicBezTo>
                    <a:pt x="525" y="582"/>
                    <a:pt x="527" y="608"/>
                    <a:pt x="544" y="625"/>
                  </a:cubicBezTo>
                  <a:lnTo>
                    <a:pt x="726" y="807"/>
                  </a:lnTo>
                  <a:cubicBezTo>
                    <a:pt x="735" y="816"/>
                    <a:pt x="748" y="821"/>
                    <a:pt x="760" y="821"/>
                  </a:cubicBezTo>
                  <a:cubicBezTo>
                    <a:pt x="772" y="821"/>
                    <a:pt x="785" y="816"/>
                    <a:pt x="794" y="807"/>
                  </a:cubicBezTo>
                  <a:lnTo>
                    <a:pt x="807" y="794"/>
                  </a:lnTo>
                  <a:cubicBezTo>
                    <a:pt x="826" y="775"/>
                    <a:pt x="826" y="745"/>
                    <a:pt x="807" y="726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79" name="Arrow21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 rot="7721822">
            <a:off x="1050037" y="3132190"/>
            <a:ext cx="622059" cy="837115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8" name="Arrow21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 rot="13440904">
            <a:off x="1390755" y="5365551"/>
            <a:ext cx="479036" cy="644647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Arrow21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 rot="13878178" flipH="1">
            <a:off x="626417" y="3468566"/>
            <a:ext cx="549171" cy="739028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Arrow21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 rot="12736687" flipH="1">
            <a:off x="534234" y="6404461"/>
            <a:ext cx="549171" cy="739028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  <a:prstDash val="sysDash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33" name="Big_data2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2580CD18-6FB6-489A-99E3-654447F2DB5E}"/>
              </a:ext>
            </a:extLst>
          </p:cNvPr>
          <p:cNvGrpSpPr>
            <a:grpSpLocks noChangeAspect="1"/>
          </p:cNvGrpSpPr>
          <p:nvPr/>
        </p:nvGrpSpPr>
        <p:grpSpPr>
          <a:xfrm>
            <a:off x="873515" y="7244122"/>
            <a:ext cx="479804" cy="829978"/>
            <a:chOff x="5191125" y="309563"/>
            <a:chExt cx="452438" cy="782638"/>
          </a:xfrm>
          <a:noFill/>
        </p:grpSpPr>
        <p:sp>
          <p:nvSpPr>
            <p:cNvPr id="134" name="Freeform 98">
              <a:extLst>
                <a:ext uri="{FF2B5EF4-FFF2-40B4-BE49-F238E27FC236}">
                  <a16:creationId xmlns="" xmlns:a16="http://schemas.microsoft.com/office/drawing/2014/main" id="{0920A734-0A45-40CD-BC0D-1C92BC4F2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638" y="1041400"/>
              <a:ext cx="125413" cy="46038"/>
            </a:xfrm>
            <a:custGeom>
              <a:avLst/>
              <a:gdLst>
                <a:gd name="T0" fmla="*/ 153 w 186"/>
                <a:gd name="T1" fmla="*/ 67 h 67"/>
                <a:gd name="T2" fmla="*/ 33 w 186"/>
                <a:gd name="T3" fmla="*/ 67 h 67"/>
                <a:gd name="T4" fmla="*/ 0 w 186"/>
                <a:gd name="T5" fmla="*/ 34 h 67"/>
                <a:gd name="T6" fmla="*/ 0 w 186"/>
                <a:gd name="T7" fmla="*/ 34 h 67"/>
                <a:gd name="T8" fmla="*/ 33 w 186"/>
                <a:gd name="T9" fmla="*/ 0 h 67"/>
                <a:gd name="T10" fmla="*/ 153 w 186"/>
                <a:gd name="T11" fmla="*/ 0 h 67"/>
                <a:gd name="T12" fmla="*/ 186 w 186"/>
                <a:gd name="T13" fmla="*/ 34 h 67"/>
                <a:gd name="T14" fmla="*/ 186 w 186"/>
                <a:gd name="T15" fmla="*/ 34 h 67"/>
                <a:gd name="T16" fmla="*/ 153 w 186"/>
                <a:gd name="T1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67">
                  <a:moveTo>
                    <a:pt x="153" y="67"/>
                  </a:moveTo>
                  <a:lnTo>
                    <a:pt x="33" y="67"/>
                  </a:lnTo>
                  <a:cubicBezTo>
                    <a:pt x="15" y="67"/>
                    <a:pt x="0" y="52"/>
                    <a:pt x="0" y="34"/>
                  </a:cubicBezTo>
                  <a:lnTo>
                    <a:pt x="0" y="34"/>
                  </a:lnTo>
                  <a:cubicBezTo>
                    <a:pt x="0" y="15"/>
                    <a:pt x="15" y="0"/>
                    <a:pt x="33" y="0"/>
                  </a:cubicBezTo>
                  <a:lnTo>
                    <a:pt x="153" y="0"/>
                  </a:lnTo>
                  <a:cubicBezTo>
                    <a:pt x="171" y="0"/>
                    <a:pt x="186" y="15"/>
                    <a:pt x="186" y="34"/>
                  </a:cubicBezTo>
                  <a:lnTo>
                    <a:pt x="186" y="34"/>
                  </a:lnTo>
                  <a:cubicBezTo>
                    <a:pt x="186" y="52"/>
                    <a:pt x="171" y="67"/>
                    <a:pt x="153" y="67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Oval 99">
              <a:extLst>
                <a:ext uri="{FF2B5EF4-FFF2-40B4-BE49-F238E27FC236}">
                  <a16:creationId xmlns="" xmlns:a16="http://schemas.microsoft.com/office/drawing/2014/main" id="{70EA5B49-854F-47DE-8C37-60DA8EA70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0650" y="315913"/>
              <a:ext cx="433388" cy="166688"/>
            </a:xfrm>
            <a:prstGeom prst="ellipse">
              <a:avLst/>
            </a:pr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00">
              <a:extLst>
                <a:ext uri="{FF2B5EF4-FFF2-40B4-BE49-F238E27FC236}">
                  <a16:creationId xmlns="" xmlns:a16="http://schemas.microsoft.com/office/drawing/2014/main" id="{59FA8962-1597-4CD8-9D78-F38E83601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415925"/>
              <a:ext cx="433388" cy="534988"/>
            </a:xfrm>
            <a:custGeom>
              <a:avLst/>
              <a:gdLst>
                <a:gd name="T0" fmla="*/ 642 w 643"/>
                <a:gd name="T1" fmla="*/ 668 h 792"/>
                <a:gd name="T2" fmla="*/ 642 w 643"/>
                <a:gd name="T3" fmla="*/ 676 h 792"/>
                <a:gd name="T4" fmla="*/ 321 w 643"/>
                <a:gd name="T5" fmla="*/ 791 h 792"/>
                <a:gd name="T6" fmla="*/ 0 w 643"/>
                <a:gd name="T7" fmla="*/ 677 h 792"/>
                <a:gd name="T8" fmla="*/ 0 w 643"/>
                <a:gd name="T9" fmla="*/ 668 h 792"/>
                <a:gd name="T10" fmla="*/ 0 w 643"/>
                <a:gd name="T11" fmla="*/ 0 h 792"/>
                <a:gd name="T12" fmla="*/ 65 w 643"/>
                <a:gd name="T13" fmla="*/ 46 h 792"/>
                <a:gd name="T14" fmla="*/ 303 w 643"/>
                <a:gd name="T15" fmla="*/ 96 h 792"/>
                <a:gd name="T16" fmla="*/ 558 w 643"/>
                <a:gd name="T17" fmla="*/ 54 h 792"/>
                <a:gd name="T18" fmla="*/ 642 w 643"/>
                <a:gd name="T19" fmla="*/ 6 h 792"/>
                <a:gd name="T20" fmla="*/ 642 w 643"/>
                <a:gd name="T21" fmla="*/ 668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3" h="792">
                  <a:moveTo>
                    <a:pt x="642" y="668"/>
                  </a:moveTo>
                  <a:cubicBezTo>
                    <a:pt x="642" y="670"/>
                    <a:pt x="643" y="673"/>
                    <a:pt x="642" y="676"/>
                  </a:cubicBezTo>
                  <a:cubicBezTo>
                    <a:pt x="636" y="743"/>
                    <a:pt x="458" y="790"/>
                    <a:pt x="321" y="791"/>
                  </a:cubicBezTo>
                  <a:cubicBezTo>
                    <a:pt x="193" y="792"/>
                    <a:pt x="14" y="753"/>
                    <a:pt x="0" y="677"/>
                  </a:cubicBezTo>
                  <a:cubicBezTo>
                    <a:pt x="0" y="674"/>
                    <a:pt x="0" y="670"/>
                    <a:pt x="0" y="668"/>
                  </a:cubicBezTo>
                  <a:lnTo>
                    <a:pt x="0" y="0"/>
                  </a:lnTo>
                  <a:cubicBezTo>
                    <a:pt x="14" y="13"/>
                    <a:pt x="36" y="30"/>
                    <a:pt x="65" y="46"/>
                  </a:cubicBezTo>
                  <a:cubicBezTo>
                    <a:pt x="148" y="92"/>
                    <a:pt x="225" y="95"/>
                    <a:pt x="303" y="96"/>
                  </a:cubicBezTo>
                  <a:cubicBezTo>
                    <a:pt x="371" y="98"/>
                    <a:pt x="459" y="99"/>
                    <a:pt x="558" y="54"/>
                  </a:cubicBezTo>
                  <a:cubicBezTo>
                    <a:pt x="594" y="38"/>
                    <a:pt x="623" y="20"/>
                    <a:pt x="642" y="6"/>
                  </a:cubicBezTo>
                  <a:lnTo>
                    <a:pt x="642" y="668"/>
                  </a:lnTo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01">
              <a:extLst>
                <a:ext uri="{FF2B5EF4-FFF2-40B4-BE49-F238E27FC236}">
                  <a16:creationId xmlns="" xmlns:a16="http://schemas.microsoft.com/office/drawing/2014/main" id="{9A4B2AAC-0B67-4E9C-A6A0-42B5F2195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555625"/>
              <a:ext cx="433388" cy="239713"/>
            </a:xfrm>
            <a:custGeom>
              <a:avLst/>
              <a:gdLst>
                <a:gd name="T0" fmla="*/ 0 w 642"/>
                <a:gd name="T1" fmla="*/ 232 h 355"/>
                <a:gd name="T2" fmla="*/ 321 w 642"/>
                <a:gd name="T3" fmla="*/ 355 h 355"/>
                <a:gd name="T4" fmla="*/ 642 w 642"/>
                <a:gd name="T5" fmla="*/ 232 h 355"/>
                <a:gd name="T6" fmla="*/ 642 w 642"/>
                <a:gd name="T7" fmla="*/ 0 h 355"/>
                <a:gd name="T8" fmla="*/ 321 w 642"/>
                <a:gd name="T9" fmla="*/ 123 h 355"/>
                <a:gd name="T10" fmla="*/ 0 w 642"/>
                <a:gd name="T11" fmla="*/ 0 h 355"/>
                <a:gd name="T12" fmla="*/ 0 w 642"/>
                <a:gd name="T13" fmla="*/ 23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2" h="355">
                  <a:moveTo>
                    <a:pt x="0" y="232"/>
                  </a:moveTo>
                  <a:cubicBezTo>
                    <a:pt x="0" y="300"/>
                    <a:pt x="143" y="355"/>
                    <a:pt x="321" y="355"/>
                  </a:cubicBezTo>
                  <a:cubicBezTo>
                    <a:pt x="498" y="355"/>
                    <a:pt x="642" y="300"/>
                    <a:pt x="642" y="232"/>
                  </a:cubicBezTo>
                  <a:lnTo>
                    <a:pt x="642" y="0"/>
                  </a:lnTo>
                  <a:cubicBezTo>
                    <a:pt x="642" y="68"/>
                    <a:pt x="498" y="123"/>
                    <a:pt x="321" y="123"/>
                  </a:cubicBezTo>
                  <a:cubicBezTo>
                    <a:pt x="143" y="123"/>
                    <a:pt x="0" y="68"/>
                    <a:pt x="0" y="0"/>
                  </a:cubicBezTo>
                  <a:lnTo>
                    <a:pt x="0" y="232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Rectangle 102">
              <a:extLst>
                <a:ext uri="{FF2B5EF4-FFF2-40B4-BE49-F238E27FC236}">
                  <a16:creationId xmlns="" xmlns:a16="http://schemas.microsoft.com/office/drawing/2014/main" id="{E0861EB9-85E6-4F16-91A8-EEFE1F3113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0675" y="393700"/>
              <a:ext cx="33338" cy="11113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3">
              <a:extLst>
                <a:ext uri="{FF2B5EF4-FFF2-40B4-BE49-F238E27FC236}">
                  <a16:creationId xmlns="" xmlns:a16="http://schemas.microsoft.com/office/drawing/2014/main" id="{281D35EB-D9C2-4328-8387-A83FA059D1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5888" y="309563"/>
              <a:ext cx="444500" cy="177800"/>
            </a:xfrm>
            <a:custGeom>
              <a:avLst/>
              <a:gdLst>
                <a:gd name="T0" fmla="*/ 330 w 660"/>
                <a:gd name="T1" fmla="*/ 17 h 263"/>
                <a:gd name="T2" fmla="*/ 17 w 660"/>
                <a:gd name="T3" fmla="*/ 131 h 263"/>
                <a:gd name="T4" fmla="*/ 330 w 660"/>
                <a:gd name="T5" fmla="*/ 246 h 263"/>
                <a:gd name="T6" fmla="*/ 643 w 660"/>
                <a:gd name="T7" fmla="*/ 131 h 263"/>
                <a:gd name="T8" fmla="*/ 330 w 660"/>
                <a:gd name="T9" fmla="*/ 17 h 263"/>
                <a:gd name="T10" fmla="*/ 330 w 660"/>
                <a:gd name="T11" fmla="*/ 263 h 263"/>
                <a:gd name="T12" fmla="*/ 0 w 660"/>
                <a:gd name="T13" fmla="*/ 131 h 263"/>
                <a:gd name="T14" fmla="*/ 330 w 660"/>
                <a:gd name="T15" fmla="*/ 0 h 263"/>
                <a:gd name="T16" fmla="*/ 660 w 660"/>
                <a:gd name="T17" fmla="*/ 131 h 263"/>
                <a:gd name="T18" fmla="*/ 330 w 660"/>
                <a:gd name="T19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63">
                  <a:moveTo>
                    <a:pt x="330" y="17"/>
                  </a:moveTo>
                  <a:cubicBezTo>
                    <a:pt x="160" y="17"/>
                    <a:pt x="17" y="69"/>
                    <a:pt x="17" y="131"/>
                  </a:cubicBezTo>
                  <a:cubicBezTo>
                    <a:pt x="17" y="194"/>
                    <a:pt x="160" y="246"/>
                    <a:pt x="330" y="246"/>
                  </a:cubicBezTo>
                  <a:cubicBezTo>
                    <a:pt x="500" y="246"/>
                    <a:pt x="643" y="194"/>
                    <a:pt x="643" y="131"/>
                  </a:cubicBezTo>
                  <a:cubicBezTo>
                    <a:pt x="643" y="69"/>
                    <a:pt x="500" y="17"/>
                    <a:pt x="330" y="17"/>
                  </a:cubicBezTo>
                  <a:close/>
                  <a:moveTo>
                    <a:pt x="330" y="263"/>
                  </a:moveTo>
                  <a:cubicBezTo>
                    <a:pt x="145" y="263"/>
                    <a:pt x="0" y="205"/>
                    <a:pt x="0" y="131"/>
                  </a:cubicBezTo>
                  <a:cubicBezTo>
                    <a:pt x="0" y="58"/>
                    <a:pt x="145" y="0"/>
                    <a:pt x="330" y="0"/>
                  </a:cubicBezTo>
                  <a:cubicBezTo>
                    <a:pt x="515" y="0"/>
                    <a:pt x="660" y="58"/>
                    <a:pt x="660" y="131"/>
                  </a:cubicBezTo>
                  <a:cubicBezTo>
                    <a:pt x="660" y="205"/>
                    <a:pt x="515" y="263"/>
                    <a:pt x="330" y="263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04">
              <a:extLst>
                <a:ext uri="{FF2B5EF4-FFF2-40B4-BE49-F238E27FC236}">
                  <a16:creationId xmlns="" xmlns:a16="http://schemas.microsoft.com/office/drawing/2014/main" id="{647E2488-6226-4ACC-A8BC-F6159BEE2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5888" y="555625"/>
              <a:ext cx="444500" cy="88900"/>
            </a:xfrm>
            <a:custGeom>
              <a:avLst/>
              <a:gdLst>
                <a:gd name="T0" fmla="*/ 330 w 660"/>
                <a:gd name="T1" fmla="*/ 132 h 132"/>
                <a:gd name="T2" fmla="*/ 0 w 660"/>
                <a:gd name="T3" fmla="*/ 0 h 132"/>
                <a:gd name="T4" fmla="*/ 17 w 660"/>
                <a:gd name="T5" fmla="*/ 0 h 132"/>
                <a:gd name="T6" fmla="*/ 330 w 660"/>
                <a:gd name="T7" fmla="*/ 115 h 132"/>
                <a:gd name="T8" fmla="*/ 643 w 660"/>
                <a:gd name="T9" fmla="*/ 0 h 132"/>
                <a:gd name="T10" fmla="*/ 660 w 660"/>
                <a:gd name="T11" fmla="*/ 0 h 132"/>
                <a:gd name="T12" fmla="*/ 330 w 660"/>
                <a:gd name="T1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32">
                  <a:moveTo>
                    <a:pt x="330" y="132"/>
                  </a:moveTo>
                  <a:cubicBezTo>
                    <a:pt x="145" y="132"/>
                    <a:pt x="0" y="74"/>
                    <a:pt x="0" y="0"/>
                  </a:cubicBezTo>
                  <a:lnTo>
                    <a:pt x="17" y="0"/>
                  </a:lnTo>
                  <a:cubicBezTo>
                    <a:pt x="17" y="62"/>
                    <a:pt x="160" y="115"/>
                    <a:pt x="330" y="115"/>
                  </a:cubicBezTo>
                  <a:cubicBezTo>
                    <a:pt x="500" y="115"/>
                    <a:pt x="643" y="62"/>
                    <a:pt x="643" y="0"/>
                  </a:cubicBezTo>
                  <a:lnTo>
                    <a:pt x="660" y="0"/>
                  </a:lnTo>
                  <a:cubicBezTo>
                    <a:pt x="660" y="74"/>
                    <a:pt x="515" y="132"/>
                    <a:pt x="330" y="132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05">
              <a:extLst>
                <a:ext uri="{FF2B5EF4-FFF2-40B4-BE49-F238E27FC236}">
                  <a16:creationId xmlns="" xmlns:a16="http://schemas.microsoft.com/office/drawing/2014/main" id="{26EECF92-F24F-447F-9E4E-C26C31F62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5888" y="711200"/>
              <a:ext cx="444500" cy="88900"/>
            </a:xfrm>
            <a:custGeom>
              <a:avLst/>
              <a:gdLst>
                <a:gd name="T0" fmla="*/ 330 w 660"/>
                <a:gd name="T1" fmla="*/ 131 h 131"/>
                <a:gd name="T2" fmla="*/ 0 w 660"/>
                <a:gd name="T3" fmla="*/ 0 h 131"/>
                <a:gd name="T4" fmla="*/ 17 w 660"/>
                <a:gd name="T5" fmla="*/ 0 h 131"/>
                <a:gd name="T6" fmla="*/ 330 w 660"/>
                <a:gd name="T7" fmla="*/ 114 h 131"/>
                <a:gd name="T8" fmla="*/ 643 w 660"/>
                <a:gd name="T9" fmla="*/ 0 h 131"/>
                <a:gd name="T10" fmla="*/ 660 w 660"/>
                <a:gd name="T11" fmla="*/ 0 h 131"/>
                <a:gd name="T12" fmla="*/ 330 w 660"/>
                <a:gd name="T13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31">
                  <a:moveTo>
                    <a:pt x="330" y="131"/>
                  </a:moveTo>
                  <a:cubicBezTo>
                    <a:pt x="145" y="131"/>
                    <a:pt x="0" y="73"/>
                    <a:pt x="0" y="0"/>
                  </a:cubicBezTo>
                  <a:lnTo>
                    <a:pt x="17" y="0"/>
                  </a:lnTo>
                  <a:cubicBezTo>
                    <a:pt x="17" y="62"/>
                    <a:pt x="160" y="114"/>
                    <a:pt x="330" y="114"/>
                  </a:cubicBezTo>
                  <a:cubicBezTo>
                    <a:pt x="500" y="114"/>
                    <a:pt x="643" y="62"/>
                    <a:pt x="643" y="0"/>
                  </a:cubicBezTo>
                  <a:lnTo>
                    <a:pt x="660" y="0"/>
                  </a:lnTo>
                  <a:cubicBezTo>
                    <a:pt x="660" y="73"/>
                    <a:pt x="515" y="131"/>
                    <a:pt x="330" y="131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06">
              <a:extLst>
                <a:ext uri="{FF2B5EF4-FFF2-40B4-BE49-F238E27FC236}">
                  <a16:creationId xmlns="" xmlns:a16="http://schemas.microsoft.com/office/drawing/2014/main" id="{7DFDBB28-361A-44E3-97D7-00F2733C3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5888" y="868363"/>
              <a:ext cx="444500" cy="88900"/>
            </a:xfrm>
            <a:custGeom>
              <a:avLst/>
              <a:gdLst>
                <a:gd name="T0" fmla="*/ 330 w 660"/>
                <a:gd name="T1" fmla="*/ 132 h 132"/>
                <a:gd name="T2" fmla="*/ 0 w 660"/>
                <a:gd name="T3" fmla="*/ 0 h 132"/>
                <a:gd name="T4" fmla="*/ 17 w 660"/>
                <a:gd name="T5" fmla="*/ 0 h 132"/>
                <a:gd name="T6" fmla="*/ 330 w 660"/>
                <a:gd name="T7" fmla="*/ 115 h 132"/>
                <a:gd name="T8" fmla="*/ 643 w 660"/>
                <a:gd name="T9" fmla="*/ 0 h 132"/>
                <a:gd name="T10" fmla="*/ 660 w 660"/>
                <a:gd name="T11" fmla="*/ 0 h 132"/>
                <a:gd name="T12" fmla="*/ 330 w 660"/>
                <a:gd name="T1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32">
                  <a:moveTo>
                    <a:pt x="330" y="132"/>
                  </a:moveTo>
                  <a:cubicBezTo>
                    <a:pt x="145" y="132"/>
                    <a:pt x="0" y="74"/>
                    <a:pt x="0" y="0"/>
                  </a:cubicBezTo>
                  <a:lnTo>
                    <a:pt x="17" y="0"/>
                  </a:lnTo>
                  <a:cubicBezTo>
                    <a:pt x="17" y="62"/>
                    <a:pt x="160" y="115"/>
                    <a:pt x="330" y="115"/>
                  </a:cubicBezTo>
                  <a:cubicBezTo>
                    <a:pt x="500" y="115"/>
                    <a:pt x="643" y="62"/>
                    <a:pt x="643" y="0"/>
                  </a:cubicBezTo>
                  <a:lnTo>
                    <a:pt x="660" y="0"/>
                  </a:lnTo>
                  <a:cubicBezTo>
                    <a:pt x="660" y="74"/>
                    <a:pt x="515" y="132"/>
                    <a:pt x="330" y="132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Rectangle 107">
              <a:extLst>
                <a:ext uri="{FF2B5EF4-FFF2-40B4-BE49-F238E27FC236}">
                  <a16:creationId xmlns="" xmlns:a16="http://schemas.microsoft.com/office/drawing/2014/main" id="{41563866-ECA6-4925-9467-F1A9C2A88C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5888" y="39846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Rectangle 108">
              <a:extLst>
                <a:ext uri="{FF2B5EF4-FFF2-40B4-BE49-F238E27FC236}">
                  <a16:creationId xmlns="" xmlns:a16="http://schemas.microsoft.com/office/drawing/2014/main" id="{07F3FF97-78B5-4168-A65E-34438D840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9275" y="39846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Rectangle 109">
              <a:extLst>
                <a:ext uri="{FF2B5EF4-FFF2-40B4-BE49-F238E27FC236}">
                  <a16:creationId xmlns="" xmlns:a16="http://schemas.microsoft.com/office/drawing/2014/main" id="{E2E815E6-DD87-424B-8DF5-40D86E8A5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5888" y="63341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Rectangle 110">
              <a:extLst>
                <a:ext uri="{FF2B5EF4-FFF2-40B4-BE49-F238E27FC236}">
                  <a16:creationId xmlns="" xmlns:a16="http://schemas.microsoft.com/office/drawing/2014/main" id="{D6692D9B-161D-4D71-85E0-8E02FA263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9275" y="63341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Rectangle 111">
              <a:extLst>
                <a:ext uri="{FF2B5EF4-FFF2-40B4-BE49-F238E27FC236}">
                  <a16:creationId xmlns="" xmlns:a16="http://schemas.microsoft.com/office/drawing/2014/main" id="{C4B961EA-0F02-4668-8AA9-7E173680D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1788" y="950913"/>
              <a:ext cx="11113" cy="90488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2">
              <a:extLst>
                <a:ext uri="{FF2B5EF4-FFF2-40B4-BE49-F238E27FC236}">
                  <a16:creationId xmlns="" xmlns:a16="http://schemas.microsoft.com/office/drawing/2014/main" id="{27B75A2A-6D15-4EA6-9702-97249F6056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8288" y="1036638"/>
              <a:ext cx="138113" cy="55563"/>
            </a:xfrm>
            <a:custGeom>
              <a:avLst/>
              <a:gdLst>
                <a:gd name="T0" fmla="*/ 42 w 203"/>
                <a:gd name="T1" fmla="*/ 17 h 83"/>
                <a:gd name="T2" fmla="*/ 17 w 203"/>
                <a:gd name="T3" fmla="*/ 42 h 83"/>
                <a:gd name="T4" fmla="*/ 42 w 203"/>
                <a:gd name="T5" fmla="*/ 67 h 83"/>
                <a:gd name="T6" fmla="*/ 162 w 203"/>
                <a:gd name="T7" fmla="*/ 67 h 83"/>
                <a:gd name="T8" fmla="*/ 187 w 203"/>
                <a:gd name="T9" fmla="*/ 42 h 83"/>
                <a:gd name="T10" fmla="*/ 162 w 203"/>
                <a:gd name="T11" fmla="*/ 17 h 83"/>
                <a:gd name="T12" fmla="*/ 42 w 203"/>
                <a:gd name="T13" fmla="*/ 17 h 83"/>
                <a:gd name="T14" fmla="*/ 162 w 203"/>
                <a:gd name="T15" fmla="*/ 83 h 83"/>
                <a:gd name="T16" fmla="*/ 42 w 203"/>
                <a:gd name="T17" fmla="*/ 83 h 83"/>
                <a:gd name="T18" fmla="*/ 0 w 203"/>
                <a:gd name="T19" fmla="*/ 42 h 83"/>
                <a:gd name="T20" fmla="*/ 42 w 203"/>
                <a:gd name="T21" fmla="*/ 0 h 83"/>
                <a:gd name="T22" fmla="*/ 162 w 203"/>
                <a:gd name="T23" fmla="*/ 0 h 83"/>
                <a:gd name="T24" fmla="*/ 203 w 203"/>
                <a:gd name="T25" fmla="*/ 42 h 83"/>
                <a:gd name="T26" fmla="*/ 162 w 203"/>
                <a:gd name="T2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83">
                  <a:moveTo>
                    <a:pt x="42" y="17"/>
                  </a:moveTo>
                  <a:cubicBezTo>
                    <a:pt x="28" y="17"/>
                    <a:pt x="17" y="28"/>
                    <a:pt x="17" y="42"/>
                  </a:cubicBezTo>
                  <a:cubicBezTo>
                    <a:pt x="17" y="55"/>
                    <a:pt x="28" y="67"/>
                    <a:pt x="42" y="67"/>
                  </a:cubicBezTo>
                  <a:lnTo>
                    <a:pt x="162" y="67"/>
                  </a:lnTo>
                  <a:cubicBezTo>
                    <a:pt x="175" y="67"/>
                    <a:pt x="187" y="55"/>
                    <a:pt x="187" y="42"/>
                  </a:cubicBezTo>
                  <a:cubicBezTo>
                    <a:pt x="187" y="28"/>
                    <a:pt x="175" y="17"/>
                    <a:pt x="162" y="17"/>
                  </a:cubicBezTo>
                  <a:lnTo>
                    <a:pt x="42" y="17"/>
                  </a:lnTo>
                  <a:close/>
                  <a:moveTo>
                    <a:pt x="162" y="83"/>
                  </a:moveTo>
                  <a:lnTo>
                    <a:pt x="42" y="83"/>
                  </a:lnTo>
                  <a:cubicBezTo>
                    <a:pt x="19" y="83"/>
                    <a:pt x="0" y="64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lnTo>
                    <a:pt x="162" y="0"/>
                  </a:lnTo>
                  <a:cubicBezTo>
                    <a:pt x="185" y="0"/>
                    <a:pt x="203" y="19"/>
                    <a:pt x="203" y="42"/>
                  </a:cubicBezTo>
                  <a:cubicBezTo>
                    <a:pt x="203" y="64"/>
                    <a:pt x="185" y="83"/>
                    <a:pt x="162" y="83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Rectangle 113">
              <a:extLst>
                <a:ext uri="{FF2B5EF4-FFF2-40B4-BE49-F238E27FC236}">
                  <a16:creationId xmlns="" xmlns:a16="http://schemas.microsoft.com/office/drawing/2014/main" id="{D4A27788-FD9D-45EA-AD72-88E1B928F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0050" y="1058863"/>
              <a:ext cx="163513" cy="11113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Rectangle 114">
              <a:extLst>
                <a:ext uri="{FF2B5EF4-FFF2-40B4-BE49-F238E27FC236}">
                  <a16:creationId xmlns="" xmlns:a16="http://schemas.microsoft.com/office/drawing/2014/main" id="{58FEC560-30F1-4367-B4D6-E26C04C9A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1125" y="1058863"/>
              <a:ext cx="163513" cy="11113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1" name="Rectangle 150"/>
          <p:cNvSpPr/>
          <p:nvPr/>
        </p:nvSpPr>
        <p:spPr>
          <a:xfrm>
            <a:off x="2123184" y="7335946"/>
            <a:ext cx="3803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Exporter les références au format .csv, .</a:t>
            </a:r>
            <a:r>
              <a:rPr lang="fr-FR" sz="1800" dirty="0" err="1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json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, etc.</a:t>
            </a:r>
            <a:endParaRPr lang="fr-FR" sz="1800" dirty="0"/>
          </a:p>
        </p:txBody>
      </p:sp>
      <p:sp>
        <p:nvSpPr>
          <p:cNvPr id="5" name="Parenthèse ouvrante 4"/>
          <p:cNvSpPr/>
          <p:nvPr/>
        </p:nvSpPr>
        <p:spPr>
          <a:xfrm>
            <a:off x="2039999" y="3290030"/>
            <a:ext cx="422159" cy="3505200"/>
          </a:xfrm>
          <a:prstGeom prst="leftBracket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1828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1</TotalTime>
  <Words>60</Words>
  <Application>Microsoft Office PowerPoint</Application>
  <PresentationFormat>Personnalisé</PresentationFormat>
  <Paragraphs>9</Paragraphs>
  <Slides>1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icrosoft JhengHei</vt:lpstr>
      <vt:lpstr>Arial</vt:lpstr>
      <vt:lpstr>Calibri</vt:lpstr>
      <vt:lpstr>Calibri Light</vt:lpstr>
      <vt:lpstr>Thème Office</vt:lpstr>
      <vt:lpstr>Présentation PowerPoint</vt:lpstr>
    </vt:vector>
  </TitlesOfParts>
  <Company>Direction de la Document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an-Yves Keslick-Galipienso</dc:creator>
  <cp:lastModifiedBy>Frédérique Flamerie De Lachapelle</cp:lastModifiedBy>
  <cp:revision>24</cp:revision>
  <dcterms:created xsi:type="dcterms:W3CDTF">2021-02-08T12:43:07Z</dcterms:created>
  <dcterms:modified xsi:type="dcterms:W3CDTF">2022-10-27T08:57:24Z</dcterms:modified>
</cp:coreProperties>
</file>